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compatMode="1" strictFirstAndLastChars="0" saveSubsetFonts="1">
  <p:sldMasterIdLst>
    <p:sldMasterId id="2147483648" r:id="rId2"/>
    <p:sldMasterId id="2147484195" r:id="rId3"/>
  </p:sldMasterIdLst>
  <p:notesMasterIdLst>
    <p:notesMasterId r:id="rId17"/>
  </p:notesMasterIdLst>
  <p:handoutMasterIdLst>
    <p:handoutMasterId r:id="rId18"/>
  </p:handoutMasterIdLst>
  <p:sldIdLst>
    <p:sldId id="280" r:id="rId4"/>
    <p:sldId id="290" r:id="rId5"/>
    <p:sldId id="291" r:id="rId6"/>
    <p:sldId id="293" r:id="rId7"/>
    <p:sldId id="295" r:id="rId8"/>
    <p:sldId id="299" r:id="rId9"/>
    <p:sldId id="298" r:id="rId10"/>
    <p:sldId id="286" r:id="rId11"/>
    <p:sldId id="288" r:id="rId12"/>
    <p:sldId id="301" r:id="rId13"/>
    <p:sldId id="302" r:id="rId14"/>
    <p:sldId id="303" r:id="rId15"/>
    <p:sldId id="281" r:id="rId16"/>
  </p:sldIdLst>
  <p:sldSz cx="12188825" cy="6858000"/>
  <p:notesSz cx="7772400" cy="10058400"/>
  <p:defaultTextStyle>
    <a:defPPr>
      <a:defRPr lang="en-GB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1pPr>
    <a:lvl2pPr marL="742950" indent="-28575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2pPr>
    <a:lvl3pPr marL="1143000" indent="-228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3pPr>
    <a:lvl4pPr marL="1600200" indent="-228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4pPr>
    <a:lvl5pPr marL="2057400" indent="-228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5pPr>
    <a:lvl6pPr marL="2286000" algn="l" defTabSz="914400" rtl="0" eaLnBrk="1" latinLnBrk="0" hangingPunct="1"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6pPr>
    <a:lvl7pPr marL="2743200" algn="l" defTabSz="914400" rtl="0" eaLnBrk="1" latinLnBrk="0" hangingPunct="1"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7pPr>
    <a:lvl8pPr marL="3200400" algn="l" defTabSz="914400" rtl="0" eaLnBrk="1" latinLnBrk="0" hangingPunct="1"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8pPr>
    <a:lvl9pPr marL="3657600" algn="l" defTabSz="914400" rtl="0" eaLnBrk="1" latinLnBrk="0" hangingPunct="1">
      <a:defRPr kern="1200">
        <a:solidFill>
          <a:schemeClr val="bg1"/>
        </a:solidFill>
        <a:latin typeface="Calibri" charset="0"/>
        <a:ea typeface="Microsoft YaHei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C85A"/>
    <a:srgbClr val="5DFFA6"/>
    <a:srgbClr val="ABFFD1"/>
    <a:srgbClr val="FF8F8F"/>
    <a:srgbClr val="FFCDCD"/>
    <a:srgbClr val="9D9DE7"/>
    <a:srgbClr val="CDCDF3"/>
    <a:srgbClr val="FFD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88" autoAdjust="0"/>
    <p:restoredTop sz="93428" autoAdjust="0"/>
  </p:normalViewPr>
  <p:slideViewPr>
    <p:cSldViewPr>
      <p:cViewPr varScale="1">
        <p:scale>
          <a:sx n="85" d="100"/>
          <a:sy n="85" d="100"/>
        </p:scale>
        <p:origin x="808" y="176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esProps" Target="presProps.xml"/><Relationship Id="rId1" Type="http://schemas.openxmlformats.org/officeDocument/2006/relationships/customXml" Target="../customXml/item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libri" charset="0"/>
                <a:ea typeface="Microsoft YaHei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402138" y="0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libri" charset="0"/>
                <a:ea typeface="Microsoft YaHei" charset="-122"/>
              </a:defRPr>
            </a:lvl1pPr>
          </a:lstStyle>
          <a:p>
            <a:pPr>
              <a:defRPr/>
            </a:pPr>
            <a:fld id="{7D6EBE7C-7BED-594B-BC8F-137899B76AD4}" type="datetimeFigureOut">
              <a:rPr lang="en-US"/>
              <a:pPr>
                <a:defRPr/>
              </a:pPr>
              <a:t>9/21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libri" charset="0"/>
                <a:ea typeface="Microsoft YaHei" charset="-122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402138" y="9553575"/>
            <a:ext cx="3368675" cy="5048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libri" charset="0"/>
                <a:ea typeface="Microsoft YaHei" charset="-122"/>
              </a:defRPr>
            </a:lvl1pPr>
          </a:lstStyle>
          <a:p>
            <a:pPr>
              <a:defRPr/>
            </a:pPr>
            <a:fld id="{55599201-7A6C-B74A-88C2-326CAEA98DD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534988" y="763588"/>
            <a:ext cx="6702425" cy="377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777875" y="4776788"/>
            <a:ext cx="6216650" cy="4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Lucida Sans Unicode" panose="020B0602030504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4398963" y="0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Lucida Sans Unicode" panose="020B0602030504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0" y="9555163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Lucida Sans Unicode" panose="020B0602030504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4398963" y="9555163"/>
            <a:ext cx="33718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</a:defRPr>
            </a:lvl1pPr>
          </a:lstStyle>
          <a:p>
            <a:pPr>
              <a:defRPr/>
            </a:pPr>
            <a:fld id="{CB7ABD26-3AB2-DE4D-B880-1CB49151699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MS PGothic" panose="020B0600070205080204" pitchFamily="34" charset="-128"/>
      </a:defRPr>
    </a:lvl1pPr>
    <a:lvl2pPr marL="742950" indent="-28575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2pPr>
    <a:lvl3pPr marL="11430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3pPr>
    <a:lvl4pPr marL="16002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4pPr>
    <a:lvl5pPr marL="2057400" indent="-228600" algn="l" defTabSz="457200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anose="02020603050405020304" pitchFamily="18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9219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9220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A83DA30E-DE16-EC47-8533-813FA224B358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7651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7652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19ABCE0D-FA21-0F4C-B831-33B68EC45D3A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0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9699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9700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56A56B64-F68D-DC46-95E8-C318E7A8382E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1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1747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31748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879FCF6B-3080-544B-8730-CAA401E2571B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2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3795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33796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A68A2C33-74B0-C34D-9FCF-AA92970FF49B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13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1267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1268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D0057499-E55A-484E-83AD-2D03FB9F693F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2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3315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3316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1B7DB4C7-4723-0043-89D7-694B9A723F9C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3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5363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5364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01B00BFC-AC08-824D-B034-FC711EE33FA5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4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7411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7412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7C9F4BF8-D08B-4544-98FD-5E77029DE290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5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9459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19460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FBFF0CBF-00C2-F747-994F-ECD71B2A0DC0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6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1507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1508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9A0629A9-96F1-754D-A78A-86433B63C9C8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7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3555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3556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077A4256-2088-284C-AFF5-F18B1D612C50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8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25603" name="슬라이드 노트 개체 틀 2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endParaRPr lang="ko-KR" altLang="en-US">
              <a:latin typeface="Times New Roman" charset="0"/>
              <a:ea typeface="MS PGothic" charset="-128"/>
            </a:endParaRPr>
          </a:p>
        </p:txBody>
      </p:sp>
      <p:sp>
        <p:nvSpPr>
          <p:cNvPr id="25604" name="슬라이드 번호 개체 틀 3"/>
          <p:cNvSpPr>
            <a:spLocks noGrp="1"/>
          </p:cNvSpPr>
          <p:nvPr>
            <p:ph type="sldNum" sz="quarter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</a:pPr>
            <a:fld id="{87E12E39-6EAF-1D41-B216-F22A0C1355FE}" type="slidenum">
              <a:rPr lang="en-US" altLang="en-US">
                <a:solidFill>
                  <a:srgbClr val="000000"/>
                </a:solidFill>
                <a:latin typeface="Times New Roman" charset="0"/>
              </a:rPr>
              <a:pPr>
                <a:buFont typeface="Times New Roman" charset="0"/>
                <a:buNone/>
              </a:pPr>
              <a:t>9</a:t>
            </a:fld>
            <a:endParaRPr lang="en-US" altLang="en-US">
              <a:solidFill>
                <a:srgbClr val="000000"/>
              </a:solidFill>
              <a:latin typeface="Times New Roman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2422004" y="620689"/>
            <a:ext cx="9154046" cy="648072"/>
          </a:xfrm>
        </p:spPr>
        <p:txBody>
          <a:bodyPr/>
          <a:lstStyle>
            <a:lvl1pPr>
              <a:defRPr b="1">
                <a:solidFill>
                  <a:srgbClr val="006DA7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Pg  </a:t>
            </a:r>
            <a:fld id="{118409EC-5D03-554C-91E7-E5A6CB269D0E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</p:spTree>
    <p:extLst>
      <p:ext uri="{BB962C8B-B14F-4D97-AF65-F5344CB8AC3E}">
        <p14:creationId xmlns:p14="http://schemas.microsoft.com/office/powerpoint/2010/main" val="188245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8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6200" cy="595709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6200" cy="36845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0613" y="1681163"/>
            <a:ext cx="5181600" cy="595709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0613" y="2505075"/>
            <a:ext cx="518160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2422004" y="620689"/>
            <a:ext cx="9154046" cy="648072"/>
          </a:xfrm>
        </p:spPr>
        <p:txBody>
          <a:bodyPr/>
          <a:lstStyle>
            <a:lvl1pPr>
              <a:defRPr b="1">
                <a:solidFill>
                  <a:srgbClr val="006DA7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sldNum" idx="12"/>
          </p:nvPr>
        </p:nvSpPr>
        <p:spPr>
          <a:xfrm>
            <a:off x="365125" y="6308725"/>
            <a:ext cx="2527300" cy="354013"/>
          </a:xfrm>
        </p:spPr>
        <p:txBody>
          <a:bodyPr/>
          <a:lstStyle>
            <a:lvl1pPr>
              <a:defRPr sz="1400" b="0" i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defRPr/>
            </a:pPr>
            <a:r>
              <a:rPr lang="en-US" altLang="en-US"/>
              <a:t>Pg  </a:t>
            </a:r>
            <a:fld id="{51991DB0-8472-604B-8C1F-E3D988641A7D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</p:spTree>
    <p:extLst>
      <p:ext uri="{BB962C8B-B14F-4D97-AF65-F5344CB8AC3E}">
        <p14:creationId xmlns:p14="http://schemas.microsoft.com/office/powerpoint/2010/main" val="1515532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7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2133972" y="1988840"/>
            <a:ext cx="8105949" cy="3175794"/>
          </a:xfrm>
        </p:spPr>
        <p:txBody>
          <a:bodyPr/>
          <a:lstStyle/>
          <a:p>
            <a:pPr lvl="1"/>
            <a:endParaRPr lang="en-IN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2422004" y="620689"/>
            <a:ext cx="9154046" cy="648072"/>
          </a:xfrm>
        </p:spPr>
        <p:txBody>
          <a:bodyPr/>
          <a:lstStyle>
            <a:lvl1pPr>
              <a:defRPr b="1">
                <a:solidFill>
                  <a:srgbClr val="006DA7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Slide Number Placeholder 2"/>
          <p:cNvSpPr>
            <a:spLocks noGrp="1" noChangeArrowheads="1"/>
          </p:cNvSpPr>
          <p:nvPr>
            <p:ph type="sldNum" idx="12"/>
          </p:nvPr>
        </p:nvSpPr>
        <p:spPr>
          <a:xfrm>
            <a:off x="365125" y="6308725"/>
            <a:ext cx="2527300" cy="354013"/>
          </a:xfrm>
        </p:spPr>
        <p:txBody>
          <a:bodyPr/>
          <a:lstStyle>
            <a:lvl1pPr>
              <a:defRPr sz="1400" b="0" i="0"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defRPr/>
            </a:pPr>
            <a:r>
              <a:rPr lang="en-US" altLang="en-US"/>
              <a:t>Pg  </a:t>
            </a:r>
            <a:fld id="{22EF2569-F54F-3148-9F5B-E679331AB573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</p:spTree>
    <p:extLst>
      <p:ext uri="{BB962C8B-B14F-4D97-AF65-F5344CB8AC3E}">
        <p14:creationId xmlns:p14="http://schemas.microsoft.com/office/powerpoint/2010/main" val="2453584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sp>
        <p:nvSpPr>
          <p:cNvPr id="3" name="Slide Number Placeholder 2"/>
          <p:cNvSpPr>
            <a:spLocks noGrp="1" noChangeArrowheads="1"/>
          </p:cNvSpPr>
          <p:nvPr>
            <p:ph type="sldNum" idx="10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r>
              <a:rPr lang="en-US" altLang="en-US"/>
              <a:t>Pg.  </a:t>
            </a:r>
            <a:fld id="{82BF1900-9AEB-7E43-A38A-94A5B585F622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5700937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2494012" y="2852935"/>
            <a:ext cx="8105949" cy="2967633"/>
          </a:xfrm>
        </p:spPr>
        <p:txBody>
          <a:bodyPr/>
          <a:lstStyle/>
          <a:p>
            <a:pPr lvl="1"/>
            <a:endParaRPr lang="en-IN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2422004" y="620689"/>
            <a:ext cx="9154046" cy="648072"/>
          </a:xfrm>
        </p:spPr>
        <p:txBody>
          <a:bodyPr/>
          <a:lstStyle>
            <a:lvl1pPr>
              <a:defRPr b="1">
                <a:solidFill>
                  <a:srgbClr val="006DA7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2453988" y="1412776"/>
            <a:ext cx="5156200" cy="1296144"/>
          </a:xfrm>
        </p:spPr>
        <p:txBody>
          <a:bodyPr/>
          <a:lstStyle>
            <a:lvl2pPr marL="742950" marR="0" indent="-285750" algn="l" defTabSz="457200" rtl="0" eaLnBrk="0" fontAlgn="base" latinLnBrk="0" hangingPunct="0">
              <a:lnSpc>
                <a:spcPct val="94000"/>
              </a:lnSpc>
              <a:spcBef>
                <a:spcPct val="0"/>
              </a:spcBef>
              <a:spcAft>
                <a:spcPts val="1138"/>
              </a:spcAft>
              <a:buClr>
                <a:srgbClr val="000000"/>
              </a:buClr>
              <a:buSzPct val="100000"/>
              <a:buFont typeface="Arial" charset="0"/>
              <a:buChar char="•"/>
              <a:tabLst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idx="13"/>
          </p:nvPr>
        </p:nvSpPr>
        <p:spPr/>
        <p:txBody>
          <a:bodyPr/>
          <a:lstStyle>
            <a:lvl1pPr>
              <a:defRPr sz="1400"/>
            </a:lvl1pPr>
          </a:lstStyle>
          <a:p>
            <a:pPr>
              <a:defRPr/>
            </a:pPr>
            <a:r>
              <a:rPr lang="en-US" altLang="en-US"/>
              <a:t>Pg  </a:t>
            </a:r>
            <a:fld id="{12DEFEC6-0785-B249-A1A1-BD6E5340837F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</p:spTree>
    <p:extLst>
      <p:ext uri="{BB962C8B-B14F-4D97-AF65-F5344CB8AC3E}">
        <p14:creationId xmlns:p14="http://schemas.microsoft.com/office/powerpoint/2010/main" val="16417456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55131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theme" Target="../theme/theme2.xml"/><Relationship Id="rId3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ChangeArrowheads="1"/>
          </p:cNvSpPr>
          <p:nvPr/>
        </p:nvSpPr>
        <p:spPr bwMode="auto">
          <a:xfrm>
            <a:off x="4037013" y="6356350"/>
            <a:ext cx="4113212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en-US" altLang="en-US"/>
          </a:p>
        </p:txBody>
      </p:sp>
      <p:sp>
        <p:nvSpPr>
          <p:cNvPr id="2" name="Rectangle 2"/>
          <p:cNvSpPr>
            <a:spLocks noGrp="1" noChangeArrowheads="1"/>
          </p:cNvSpPr>
          <p:nvPr>
            <p:ph type="sldNum"/>
          </p:nvPr>
        </p:nvSpPr>
        <p:spPr bwMode="auto">
          <a:xfrm>
            <a:off x="365125" y="6315075"/>
            <a:ext cx="2527300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000" rIns="90000" bIns="45000" numCol="1" anchor="t" anchorCtr="0" compatLnSpc="1">
            <a:prstTxWarp prst="textNoShape">
              <a:avLst/>
            </a:prstTxWarp>
          </a:bodyPr>
          <a:lstStyle>
            <a:lvl1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 sz="1400" b="0" i="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defRPr/>
            </a:pPr>
            <a:r>
              <a:rPr lang="en-US" altLang="en-US"/>
              <a:t>Pg  </a:t>
            </a:r>
            <a:fld id="{8419725D-2891-E142-BF46-AC9E13D33801}" type="slidenum">
              <a:rPr lang="en-US" altLang="en-US"/>
              <a:pPr>
                <a:defRPr/>
              </a:pPr>
              <a:t>‹#›</a:t>
            </a:fld>
            <a:r>
              <a:rPr lang="en-US" altLang="en-US"/>
              <a:t> | 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3050"/>
            <a:ext cx="10966450" cy="1141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the title text format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417638"/>
            <a:ext cx="10966450" cy="452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0" tIns="2124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the outline text format</a:t>
            </a:r>
          </a:p>
          <a:p>
            <a:pPr lvl="1"/>
            <a:r>
              <a:rPr lang="en-GB" altLang="en-US"/>
              <a:t>Second Outline Level</a:t>
            </a:r>
          </a:p>
          <a:p>
            <a:pPr lvl="2"/>
            <a:r>
              <a:rPr lang="en-GB" altLang="en-US"/>
              <a:t>Third Outline Level</a:t>
            </a:r>
          </a:p>
          <a:p>
            <a:pPr lvl="3"/>
            <a:r>
              <a:rPr lang="en-GB" altLang="en-US"/>
              <a:t>Fourth Outline Level</a:t>
            </a:r>
          </a:p>
          <a:p>
            <a:pPr lvl="4"/>
            <a:r>
              <a:rPr lang="en-GB" altLang="en-US"/>
              <a:t>Fifth Outline Level</a:t>
            </a:r>
          </a:p>
          <a:p>
            <a:pPr lvl="4"/>
            <a:r>
              <a:rPr lang="en-GB" altLang="en-US"/>
              <a:t>Sixth Outline Level</a:t>
            </a:r>
          </a:p>
          <a:p>
            <a:pPr lvl="4"/>
            <a:r>
              <a:rPr lang="en-GB" altLang="en-US"/>
              <a:t>Seventh Outline Level</a:t>
            </a:r>
          </a:p>
          <a:p>
            <a:pPr lvl="4"/>
            <a:r>
              <a:rPr lang="en-GB" altLang="en-US"/>
              <a:t>Eighth Outline Level</a:t>
            </a:r>
          </a:p>
          <a:p>
            <a:pPr lvl="4"/>
            <a:r>
              <a:rPr lang="en-GB" altLang="en-US"/>
              <a:t>Ninth Outline Level</a:t>
            </a:r>
          </a:p>
        </p:txBody>
      </p:sp>
      <p:cxnSp>
        <p:nvCxnSpPr>
          <p:cNvPr id="1030" name="Straight Connector 9"/>
          <p:cNvCxnSpPr>
            <a:cxnSpLocks noChangeShapeType="1"/>
          </p:cNvCxnSpPr>
          <p:nvPr userDrawn="1"/>
        </p:nvCxnSpPr>
        <p:spPr bwMode="auto">
          <a:xfrm>
            <a:off x="365125" y="6092825"/>
            <a:ext cx="11580813" cy="0"/>
          </a:xfrm>
          <a:prstGeom prst="line">
            <a:avLst/>
          </a:prstGeom>
          <a:noFill/>
          <a:ln w="9525">
            <a:solidFill>
              <a:srgbClr val="006DA7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1" name="TextBox 7"/>
          <p:cNvSpPr txBox="1">
            <a:spLocks noChangeArrowheads="1"/>
          </p:cNvSpPr>
          <p:nvPr userDrawn="1"/>
        </p:nvSpPr>
        <p:spPr bwMode="auto">
          <a:xfrm>
            <a:off x="4581525" y="6292850"/>
            <a:ext cx="35290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18" r:id="rId1"/>
    <p:sldLayoutId id="2147484420" r:id="rId2"/>
    <p:sldLayoutId id="2147484421" r:id="rId3"/>
    <p:sldLayoutId id="2147484422" r:id="rId4"/>
    <p:sldLayoutId id="214748442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kern="1200">
          <a:solidFill>
            <a:srgbClr val="FFFFFF"/>
          </a:solidFill>
          <a:latin typeface="+mj-lt"/>
          <a:ea typeface="Microsoft YaHei" charset="-122"/>
          <a:cs typeface="Microsoft YaHei" charset="0"/>
        </a:defRPr>
      </a:lvl1pPr>
      <a:lvl2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Consolas" charset="0"/>
          <a:ea typeface="Microsoft YaHei" panose="020B0503020204020204" pitchFamily="34" charset="-122"/>
          <a:cs typeface="Microsoft YaHei" charset="0"/>
        </a:defRPr>
      </a:lvl2pPr>
      <a:lvl3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Consolas" charset="0"/>
          <a:ea typeface="Microsoft YaHei" panose="020B0503020204020204" pitchFamily="34" charset="-122"/>
          <a:cs typeface="Microsoft YaHei" charset="0"/>
        </a:defRPr>
      </a:lvl3pPr>
      <a:lvl4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Consolas" charset="0"/>
          <a:ea typeface="Microsoft YaHei" panose="020B0503020204020204" pitchFamily="34" charset="-122"/>
          <a:cs typeface="Microsoft YaHei" charset="0"/>
        </a:defRPr>
      </a:lvl4pPr>
      <a:lvl5pPr algn="l" defTabSz="457200" rtl="0" eaLnBrk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>
          <a:solidFill>
            <a:srgbClr val="FFFFFF"/>
          </a:solidFill>
          <a:latin typeface="Consolas" charset="0"/>
          <a:ea typeface="Microsoft YaHei" panose="020B0503020204020204" pitchFamily="34" charset="-122"/>
          <a:cs typeface="Microsoft YaHei" charset="0"/>
        </a:defRPr>
      </a:lvl5pPr>
      <a:lvl6pPr marL="2514600" indent="-228600" algn="l" defTabSz="457200" rtl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FFFFFF"/>
          </a:solidFill>
          <a:latin typeface="Trebuchet MS" panose="020B0603020202020204" pitchFamily="34" charset="0"/>
          <a:ea typeface="Microsoft YaHei" panose="020B0503020204020204" pitchFamily="34" charset="-122"/>
        </a:defRPr>
      </a:lvl6pPr>
      <a:lvl7pPr marL="2971800" indent="-228600" algn="l" defTabSz="457200" rtl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FFFFFF"/>
          </a:solidFill>
          <a:latin typeface="Trebuchet MS" panose="020B0603020202020204" pitchFamily="34" charset="0"/>
          <a:ea typeface="Microsoft YaHei" panose="020B0503020204020204" pitchFamily="34" charset="-122"/>
        </a:defRPr>
      </a:lvl7pPr>
      <a:lvl8pPr marL="3429000" indent="-228600" algn="l" defTabSz="457200" rtl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FFFFFF"/>
          </a:solidFill>
          <a:latin typeface="Trebuchet MS" panose="020B0603020202020204" pitchFamily="34" charset="0"/>
          <a:ea typeface="Microsoft YaHei" panose="020B0503020204020204" pitchFamily="34" charset="-122"/>
        </a:defRPr>
      </a:lvl8pPr>
      <a:lvl9pPr marL="3886200" indent="-228600" algn="l" defTabSz="457200" rtl="0" fontAlgn="base" hangingPunct="0">
        <a:lnSpc>
          <a:spcPct val="108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FFFFFF"/>
          </a:solidFill>
          <a:latin typeface="Trebuchet MS" panose="020B0603020202020204" pitchFamily="34" charset="0"/>
          <a:ea typeface="Microsoft YaHei" panose="020B0503020204020204" pitchFamily="34" charset="-122"/>
        </a:defRPr>
      </a:lvl9pPr>
    </p:titleStyle>
    <p:bodyStyle>
      <a:lvl1pPr marL="342900" indent="-342900" algn="l" defTabSz="457200" rtl="0" eaLnBrk="0" fontAlgn="base" hangingPunct="0">
        <a:lnSpc>
          <a:spcPct val="94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charset="0"/>
        <a:defRPr sz="2800"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1pPr>
      <a:lvl2pPr marL="742950" indent="-285750" algn="l" defTabSz="457200" rtl="0" eaLnBrk="0" fontAlgn="base" hangingPunct="0">
        <a:lnSpc>
          <a:spcPct val="94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charset="0"/>
        <a:defRPr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2pPr>
      <a:lvl3pPr marL="1143000" indent="-228600" algn="l" defTabSz="457200" rtl="0" eaLnBrk="0" fontAlgn="base" hangingPunct="0">
        <a:lnSpc>
          <a:spcPct val="94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charset="0"/>
        <a:defRPr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3pPr>
      <a:lvl4pPr marL="1600200" indent="-228600" algn="l" defTabSz="457200" rtl="0" eaLnBrk="0" fontAlgn="base" hangingPunct="0">
        <a:lnSpc>
          <a:spcPct val="94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charset="0"/>
        <a:defRPr sz="2000"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4pPr>
      <a:lvl5pPr marL="2057400" indent="-228600" algn="l" defTabSz="457200" rtl="0" eaLnBrk="0" fontAlgn="base" hangingPunct="0">
        <a:lnSpc>
          <a:spcPct val="94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 kern="1200">
          <a:solidFill>
            <a:srgbClr val="000000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</p:sldLayoutIdLst>
  <p:hf hdr="0" ftr="0" dt="0"/>
  <p:txStyles>
    <p:titleStyle>
      <a:lvl1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 kern="1200">
          <a:solidFill>
            <a:srgbClr val="000000"/>
          </a:solidFill>
          <a:latin typeface="+mj-lt"/>
          <a:ea typeface="+mj-ea"/>
          <a:cs typeface="Microsoft YaHei" charset="0"/>
        </a:defRPr>
      </a:lvl1pPr>
      <a:lvl2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  <a:cs typeface="Microsoft YaHei" charset="0"/>
        </a:defRPr>
      </a:lvl2pPr>
      <a:lvl3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  <a:cs typeface="Microsoft YaHei" charset="0"/>
        </a:defRPr>
      </a:lvl3pPr>
      <a:lvl4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  <a:cs typeface="Microsoft YaHei" charset="0"/>
        </a:defRPr>
      </a:lvl4pPr>
      <a:lvl5pPr algn="ctr" defTabSz="457200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  <a:cs typeface="Microsoft YaHei" charset="0"/>
        </a:defRPr>
      </a:lvl5pPr>
      <a:lvl6pPr marL="2514600" indent="-228600" algn="ctr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</a:defRPr>
      </a:lvl6pPr>
      <a:lvl7pPr marL="2971800" indent="-228600" algn="ctr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</a:defRPr>
      </a:lvl7pPr>
      <a:lvl8pPr marL="3429000" indent="-228600" algn="ctr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</a:defRPr>
      </a:lvl8pPr>
      <a:lvl9pPr marL="3886200" indent="-228600" algn="ctr" defTabSz="457200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4400">
          <a:solidFill>
            <a:srgbClr val="000000"/>
          </a:solidFill>
          <a:latin typeface="Arial" panose="020B0604020202020204" pitchFamily="34" charset="0"/>
          <a:ea typeface="Microsoft YaHei" panose="020B0503020204020204" pitchFamily="34" charset="-122"/>
        </a:defRPr>
      </a:lvl9pPr>
    </p:titleStyle>
    <p:bodyStyle>
      <a:lvl1pPr marL="342900" indent="-342900" algn="l" defTabSz="457200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charset="0"/>
        <a:defRPr sz="3200" kern="1200">
          <a:solidFill>
            <a:srgbClr val="000000"/>
          </a:solidFill>
          <a:latin typeface="+mn-lt"/>
          <a:ea typeface="+mn-ea"/>
          <a:cs typeface="Microsoft YaHei" charset="0"/>
        </a:defRPr>
      </a:lvl1pPr>
      <a:lvl2pPr marL="742950" indent="-285750" algn="l" defTabSz="457200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charset="0"/>
        <a:defRPr sz="2800" kern="1200">
          <a:solidFill>
            <a:srgbClr val="000000"/>
          </a:solidFill>
          <a:latin typeface="+mn-lt"/>
          <a:ea typeface="+mn-ea"/>
          <a:cs typeface="Microsoft YaHei" charset="0"/>
        </a:defRPr>
      </a:lvl2pPr>
      <a:lvl3pPr marL="11430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charset="0"/>
        <a:defRPr sz="2400" kern="1200">
          <a:solidFill>
            <a:srgbClr val="000000"/>
          </a:solidFill>
          <a:latin typeface="+mn-lt"/>
          <a:ea typeface="+mn-ea"/>
          <a:cs typeface="Microsoft YaHei" charset="0"/>
        </a:defRPr>
      </a:lvl3pPr>
      <a:lvl4pPr marL="16002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charset="0"/>
        <a:defRPr sz="2000" kern="1200">
          <a:solidFill>
            <a:srgbClr val="000000"/>
          </a:solidFill>
          <a:latin typeface="+mn-lt"/>
          <a:ea typeface="+mn-ea"/>
          <a:cs typeface="Microsoft YaHei" charset="0"/>
        </a:defRPr>
      </a:lvl4pPr>
      <a:lvl5pPr marL="2057400" indent="-228600" algn="l" defTabSz="457200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charset="0"/>
        <a:defRPr sz="2000" kern="1200">
          <a:solidFill>
            <a:srgbClr val="000000"/>
          </a:solidFill>
          <a:latin typeface="+mn-lt"/>
          <a:ea typeface="+mn-ea"/>
          <a:cs typeface="Microsoft YaHei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mailto:somitra@iiitd.ac.in" TargetMode="External"/><Relationship Id="rId4" Type="http://schemas.openxmlformats.org/officeDocument/2006/relationships/hyperlink" Target="http://crypto.iiitd.edu.in/" TargetMode="External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5" Type="http://schemas.openxmlformats.org/officeDocument/2006/relationships/image" Target="../media/image9.png"/><Relationship Id="rId6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slideLayout" Target="../slideLayouts/slideLayout1.xml"/><Relationship Id="rId9" Type="http://schemas.openxmlformats.org/officeDocument/2006/relationships/notesSlide" Target="../notesSlides/notesSlide8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194" name="Straight Connector 4"/>
          <p:cNvCxnSpPr>
            <a:cxnSpLocks noChangeShapeType="1"/>
          </p:cNvCxnSpPr>
          <p:nvPr/>
        </p:nvCxnSpPr>
        <p:spPr bwMode="auto">
          <a:xfrm>
            <a:off x="549275" y="5876925"/>
            <a:ext cx="11099800" cy="0"/>
          </a:xfrm>
          <a:prstGeom prst="line">
            <a:avLst/>
          </a:prstGeom>
          <a:noFill/>
          <a:ln w="12700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" name="TextBox 4"/>
          <p:cNvSpPr txBox="1"/>
          <p:nvPr/>
        </p:nvSpPr>
        <p:spPr>
          <a:xfrm>
            <a:off x="8677275" y="6137275"/>
            <a:ext cx="1439863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charset="0"/>
                <a:ea typeface="Verdana" charset="0"/>
                <a:cs typeface="Verdana" charset="0"/>
              </a:rPr>
              <a:t>HOSTED BY</a:t>
            </a:r>
          </a:p>
        </p:txBody>
      </p:sp>
      <p:pic>
        <p:nvPicPr>
          <p:cNvPr id="8196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021388"/>
            <a:ext cx="160337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7" name="TextBox 7"/>
          <p:cNvSpPr txBox="1">
            <a:spLocks noChangeArrowheads="1"/>
          </p:cNvSpPr>
          <p:nvPr/>
        </p:nvSpPr>
        <p:spPr bwMode="auto">
          <a:xfrm>
            <a:off x="4557713" y="6137275"/>
            <a:ext cx="35290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400">
                <a:solidFill>
                  <a:srgbClr val="404040"/>
                </a:solidFill>
                <a:latin typeface="Verdana" charset="0"/>
              </a:rPr>
              <a:t>26-27 September 2017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05206"/>
              </p:ext>
            </p:extLst>
          </p:nvPr>
        </p:nvGraphicFramePr>
        <p:xfrm>
          <a:off x="549275" y="404813"/>
          <a:ext cx="7386638" cy="1511300"/>
        </p:xfrm>
        <a:graphic>
          <a:graphicData uri="http://schemas.openxmlformats.org/drawingml/2006/table">
            <a:tbl>
              <a:tblPr firstRow="1" bandRow="1"/>
              <a:tblGrid>
                <a:gridCol w="1630691">
                  <a:extLst>
                    <a:ext uri="{9D8B030D-6E8A-4147-A177-3AD203B41FA5}"/>
                  </a:extLst>
                </a:gridCol>
                <a:gridCol w="5755947">
                  <a:extLst>
                    <a:ext uri="{9D8B030D-6E8A-4147-A177-3AD203B41FA5}"/>
                  </a:extLst>
                </a:gridCol>
              </a:tblGrid>
              <a:tr h="3877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/>
                        <a:t>Document No:</a:t>
                      </a:r>
                      <a:endParaRPr lang="en-US" sz="1800" dirty="0"/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smtClean="0"/>
                        <a:t>GSC-21_012 (</a:t>
                      </a:r>
                      <a:r>
                        <a:rPr lang="en-US" sz="1800" dirty="0" smtClean="0"/>
                        <a:t>R1)</a:t>
                      </a:r>
                      <a:endParaRPr lang="en-US" sz="1800" dirty="0"/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/>
                    </a:solidFill>
                  </a:tcPr>
                </a:tc>
                <a:extLst>
                  <a:ext uri="{0D108BD9-81ED-4DB2-BD59-A6C34878D82A}"/>
                </a:extLst>
              </a:tr>
              <a:tr h="3656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ource:</a:t>
                      </a:r>
                      <a:endParaRPr lang="en-US" sz="1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altLang="ko-KR" sz="18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TA</a:t>
                      </a:r>
                      <a:endParaRPr lang="en-US" sz="1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4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3656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ntact:</a:t>
                      </a:r>
                      <a:endParaRPr lang="en-US" sz="1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SungDuck Chun </a:t>
                      </a:r>
                      <a:endParaRPr lang="en-US" sz="1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2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  <a:tr h="392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b="1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Agenda Item:</a:t>
                      </a:r>
                      <a:endParaRPr lang="en-US" sz="1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r>
                        <a:rPr lang="en-US" sz="18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3.02</a:t>
                      </a:r>
                      <a:endParaRPr lang="en-US" sz="18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91441" marR="91441" marT="45684" marB="45684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494BA">
                        <a:tint val="40000"/>
                      </a:srgbClr>
                    </a:solidFill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8215" name="Subtitle 2"/>
          <p:cNvSpPr txBox="1">
            <a:spLocks/>
          </p:cNvSpPr>
          <p:nvPr/>
        </p:nvSpPr>
        <p:spPr bwMode="auto">
          <a:xfrm>
            <a:off x="1557338" y="2708275"/>
            <a:ext cx="9144000" cy="128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 marL="685800" indent="-228600"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 algn="ctr" defTabSz="914400" eaLnBrk="1" hangingPunct="1">
              <a:lnSpc>
                <a:spcPct val="90000"/>
              </a:lnSpc>
              <a:spcBef>
                <a:spcPts val="1000"/>
              </a:spcBef>
              <a:buFont typeface="Arial" charset="0"/>
              <a:buNone/>
            </a:pPr>
            <a:r>
              <a:rPr lang="en-US" altLang="en-US" sz="3600" b="1">
                <a:solidFill>
                  <a:srgbClr val="006DA7"/>
                </a:solidFill>
                <a:latin typeface="Verdana" charset="0"/>
              </a:rPr>
              <a:t>Communication technologies for autonomous vehicles</a:t>
            </a:r>
          </a:p>
          <a:p>
            <a:pPr algn="ctr" defTabSz="914400" eaLnBrk="1" hangingPunct="1">
              <a:lnSpc>
                <a:spcPct val="90000"/>
              </a:lnSpc>
              <a:spcBef>
                <a:spcPts val="1000"/>
              </a:spcBef>
              <a:buFont typeface="Arial" charset="0"/>
              <a:buNone/>
            </a:pPr>
            <a:endParaRPr lang="en-US" altLang="en-US" sz="3600" b="1">
              <a:solidFill>
                <a:srgbClr val="006DA7"/>
              </a:solidFill>
              <a:latin typeface="Verdana" charset="0"/>
            </a:endParaRPr>
          </a:p>
          <a:p>
            <a:pPr algn="ctr" defTabSz="914400" eaLnBrk="1" hangingPunct="1">
              <a:lnSpc>
                <a:spcPct val="90000"/>
              </a:lnSpc>
              <a:spcBef>
                <a:spcPts val="1000"/>
              </a:spcBef>
              <a:buFont typeface="Arial" charset="0"/>
              <a:buNone/>
            </a:pPr>
            <a:r>
              <a:rPr lang="en-US" altLang="en-US" sz="2800" b="1">
                <a:solidFill>
                  <a:srgbClr val="006DA7"/>
                </a:solidFill>
                <a:latin typeface="Verdana" charset="0"/>
              </a:rPr>
              <a:t>SungDuck Chun, LG Electronic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F65B4E74-931B-334F-A9AA-8349DF18C7DC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10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6627" name="Content Placeholder 3"/>
          <p:cNvSpPr>
            <a:spLocks noGrp="1"/>
          </p:cNvSpPr>
          <p:nvPr>
            <p:ph idx="11"/>
          </p:nvPr>
        </p:nvSpPr>
        <p:spPr>
          <a:xfrm>
            <a:off x="622300" y="620713"/>
            <a:ext cx="10953750" cy="647700"/>
          </a:xfrm>
        </p:spPr>
        <p:txBody>
          <a:bodyPr/>
          <a:lstStyle/>
          <a:p>
            <a:r>
              <a:rPr lang="en-US" altLang="en-US"/>
              <a:t>Annex A: Evolution of Cellular technologies</a:t>
            </a:r>
          </a:p>
        </p:txBody>
      </p:sp>
      <p:sp>
        <p:nvSpPr>
          <p:cNvPr id="26628" name="직사각형 1"/>
          <p:cNvSpPr>
            <a:spLocks noChangeArrowheads="1"/>
          </p:cNvSpPr>
          <p:nvPr/>
        </p:nvSpPr>
        <p:spPr bwMode="auto">
          <a:xfrm>
            <a:off x="788988" y="3608388"/>
            <a:ext cx="2087562" cy="468312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GSM/GPRS</a:t>
            </a:r>
            <a:endParaRPr lang="ko-KR" altLang="en-US" b="1">
              <a:solidFill>
                <a:schemeClr val="tx1"/>
              </a:solidFill>
            </a:endParaRPr>
          </a:p>
        </p:txBody>
      </p:sp>
      <p:cxnSp>
        <p:nvCxnSpPr>
          <p:cNvPr id="26629" name="직선 화살표 연결선 33"/>
          <p:cNvCxnSpPr>
            <a:cxnSpLocks noChangeShapeType="1"/>
            <a:stCxn id="26628" idx="3"/>
            <a:endCxn id="26635" idx="1"/>
          </p:cNvCxnSpPr>
          <p:nvPr/>
        </p:nvCxnSpPr>
        <p:spPr bwMode="auto">
          <a:xfrm>
            <a:off x="2876550" y="3843338"/>
            <a:ext cx="1273175" cy="0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630" name="오각형 45"/>
          <p:cNvSpPr>
            <a:spLocks noChangeArrowheads="1"/>
          </p:cNvSpPr>
          <p:nvPr/>
        </p:nvSpPr>
        <p:spPr bwMode="auto">
          <a:xfrm>
            <a:off x="3717925" y="1916113"/>
            <a:ext cx="2808288" cy="504825"/>
          </a:xfrm>
          <a:prstGeom prst="homePlate">
            <a:avLst>
              <a:gd name="adj" fmla="val 49937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1" name="오각형 2"/>
          <p:cNvSpPr>
            <a:spLocks noChangeArrowheads="1"/>
          </p:cNvSpPr>
          <p:nvPr/>
        </p:nvSpPr>
        <p:spPr bwMode="auto">
          <a:xfrm>
            <a:off x="765175" y="1916113"/>
            <a:ext cx="2952750" cy="504825"/>
          </a:xfrm>
          <a:prstGeom prst="homePlate">
            <a:avLst>
              <a:gd name="adj" fmla="val 49934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2G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2" name="오각형 2"/>
          <p:cNvSpPr>
            <a:spLocks noChangeArrowheads="1"/>
          </p:cNvSpPr>
          <p:nvPr/>
        </p:nvSpPr>
        <p:spPr bwMode="auto">
          <a:xfrm>
            <a:off x="6526213" y="1916113"/>
            <a:ext cx="4460875" cy="504825"/>
          </a:xfrm>
          <a:prstGeom prst="homePlate">
            <a:avLst>
              <a:gd name="adj" fmla="val 49910"/>
            </a:avLst>
          </a:prstGeom>
          <a:solidFill>
            <a:srgbClr val="FFFB1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4G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3" name="직사각형 1"/>
          <p:cNvSpPr>
            <a:spLocks noChangeArrowheads="1"/>
          </p:cNvSpPr>
          <p:nvPr/>
        </p:nvSpPr>
        <p:spPr bwMode="auto">
          <a:xfrm>
            <a:off x="788988" y="4873625"/>
            <a:ext cx="2087562" cy="468313"/>
          </a:xfrm>
          <a:prstGeom prst="rect">
            <a:avLst/>
          </a:prstGeom>
          <a:solidFill>
            <a:srgbClr val="CDCDF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IS-95A/B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4" name="직사각형 1"/>
          <p:cNvSpPr>
            <a:spLocks noChangeArrowheads="1"/>
          </p:cNvSpPr>
          <p:nvPr/>
        </p:nvSpPr>
        <p:spPr bwMode="auto">
          <a:xfrm>
            <a:off x="2781300" y="2838450"/>
            <a:ext cx="1728788" cy="466725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EDGE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5" name="직사각형 1"/>
          <p:cNvSpPr>
            <a:spLocks noChangeArrowheads="1"/>
          </p:cNvSpPr>
          <p:nvPr/>
        </p:nvSpPr>
        <p:spPr bwMode="auto">
          <a:xfrm>
            <a:off x="4149725" y="3608388"/>
            <a:ext cx="2016125" cy="468312"/>
          </a:xfrm>
          <a:prstGeom prst="rect">
            <a:avLst/>
          </a:prstGeom>
          <a:solidFill>
            <a:srgbClr val="FF8F8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WCDMA/HSxPA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6" name="직사각형 1"/>
          <p:cNvSpPr>
            <a:spLocks noChangeArrowheads="1"/>
          </p:cNvSpPr>
          <p:nvPr/>
        </p:nvSpPr>
        <p:spPr bwMode="auto">
          <a:xfrm>
            <a:off x="7462838" y="4165600"/>
            <a:ext cx="792162" cy="468313"/>
          </a:xfrm>
          <a:prstGeom prst="rect">
            <a:avLst/>
          </a:prstGeom>
          <a:solidFill>
            <a:srgbClr val="ABFFD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TE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7" name="직사각형 1"/>
          <p:cNvSpPr>
            <a:spLocks noChangeArrowheads="1"/>
          </p:cNvSpPr>
          <p:nvPr/>
        </p:nvSpPr>
        <p:spPr bwMode="auto">
          <a:xfrm>
            <a:off x="4149725" y="4873625"/>
            <a:ext cx="2016125" cy="468313"/>
          </a:xfrm>
          <a:prstGeom prst="rect">
            <a:avLst/>
          </a:prstGeom>
          <a:solidFill>
            <a:srgbClr val="9D9DE7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DMA2000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1x, EV-DO, Rev A/B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8" name="직사각형 1"/>
          <p:cNvSpPr>
            <a:spLocks noChangeArrowheads="1"/>
          </p:cNvSpPr>
          <p:nvPr/>
        </p:nvSpPr>
        <p:spPr bwMode="auto">
          <a:xfrm>
            <a:off x="8542338" y="4165600"/>
            <a:ext cx="792162" cy="468313"/>
          </a:xfrm>
          <a:prstGeom prst="rect">
            <a:avLst/>
          </a:prstGeom>
          <a:solidFill>
            <a:srgbClr val="5DFFA6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TE-A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6639" name="직사각형 1"/>
          <p:cNvSpPr>
            <a:spLocks noChangeArrowheads="1"/>
          </p:cNvSpPr>
          <p:nvPr/>
        </p:nvSpPr>
        <p:spPr bwMode="auto">
          <a:xfrm>
            <a:off x="9623425" y="4165600"/>
            <a:ext cx="792163" cy="468313"/>
          </a:xfrm>
          <a:prstGeom prst="rect">
            <a:avLst/>
          </a:prstGeom>
          <a:solidFill>
            <a:srgbClr val="00C85A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TE-Pro</a:t>
            </a:r>
            <a:endParaRPr lang="ko-KR" altLang="en-US" b="1">
              <a:solidFill>
                <a:schemeClr val="tx1"/>
              </a:solidFill>
            </a:endParaRPr>
          </a:p>
        </p:txBody>
      </p:sp>
      <p:cxnSp>
        <p:nvCxnSpPr>
          <p:cNvPr id="26640" name="직선 화살표 연결선 61"/>
          <p:cNvCxnSpPr>
            <a:cxnSpLocks noChangeShapeType="1"/>
            <a:stCxn id="26636" idx="3"/>
            <a:endCxn id="26638" idx="1"/>
          </p:cNvCxnSpPr>
          <p:nvPr/>
        </p:nvCxnSpPr>
        <p:spPr bwMode="auto">
          <a:xfrm>
            <a:off x="8255000" y="4398963"/>
            <a:ext cx="287338" cy="0"/>
          </a:xfrm>
          <a:prstGeom prst="straightConnector1">
            <a:avLst/>
          </a:prstGeom>
          <a:noFill/>
          <a:ln w="19050">
            <a:solidFill>
              <a:srgbClr val="00B0F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1" name="직선 화살표 연결선 33"/>
          <p:cNvCxnSpPr>
            <a:cxnSpLocks noChangeShapeType="1"/>
            <a:stCxn id="26633" idx="3"/>
            <a:endCxn id="26637" idx="1"/>
          </p:cNvCxnSpPr>
          <p:nvPr/>
        </p:nvCxnSpPr>
        <p:spPr bwMode="auto">
          <a:xfrm>
            <a:off x="2876550" y="5106988"/>
            <a:ext cx="1273175" cy="0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2" name="직선 화살표 연결선 33"/>
          <p:cNvCxnSpPr>
            <a:cxnSpLocks noChangeShapeType="1"/>
            <a:stCxn id="26637" idx="3"/>
            <a:endCxn id="26636" idx="1"/>
          </p:cNvCxnSpPr>
          <p:nvPr/>
        </p:nvCxnSpPr>
        <p:spPr bwMode="auto">
          <a:xfrm flipV="1">
            <a:off x="6165850" y="4398963"/>
            <a:ext cx="1296988" cy="708025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3" name="직선 화살표 연결선 33"/>
          <p:cNvCxnSpPr>
            <a:cxnSpLocks noChangeShapeType="1"/>
            <a:stCxn id="26635" idx="3"/>
            <a:endCxn id="26636" idx="1"/>
          </p:cNvCxnSpPr>
          <p:nvPr/>
        </p:nvCxnSpPr>
        <p:spPr bwMode="auto">
          <a:xfrm>
            <a:off x="6165850" y="3843338"/>
            <a:ext cx="1296988" cy="555625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4" name="직선 화살표 연결선 33"/>
          <p:cNvCxnSpPr>
            <a:cxnSpLocks noChangeShapeType="1"/>
            <a:stCxn id="26628" idx="0"/>
            <a:endCxn id="26634" idx="1"/>
          </p:cNvCxnSpPr>
          <p:nvPr/>
        </p:nvCxnSpPr>
        <p:spPr bwMode="auto">
          <a:xfrm flipV="1">
            <a:off x="1831975" y="3071813"/>
            <a:ext cx="949325" cy="536575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5" name="직선 화살표 연결선 33"/>
          <p:cNvCxnSpPr>
            <a:cxnSpLocks noChangeShapeType="1"/>
            <a:stCxn id="26634" idx="3"/>
            <a:endCxn id="26635" idx="0"/>
          </p:cNvCxnSpPr>
          <p:nvPr/>
        </p:nvCxnSpPr>
        <p:spPr bwMode="auto">
          <a:xfrm>
            <a:off x="4510088" y="3071813"/>
            <a:ext cx="647700" cy="536575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646" name="직선 화살표 연결선 61"/>
          <p:cNvCxnSpPr>
            <a:cxnSpLocks noChangeShapeType="1"/>
            <a:stCxn id="26638" idx="3"/>
            <a:endCxn id="26639" idx="1"/>
          </p:cNvCxnSpPr>
          <p:nvPr/>
        </p:nvCxnSpPr>
        <p:spPr bwMode="auto">
          <a:xfrm>
            <a:off x="9334500" y="4398963"/>
            <a:ext cx="288925" cy="0"/>
          </a:xfrm>
          <a:prstGeom prst="straightConnector1">
            <a:avLst/>
          </a:prstGeom>
          <a:noFill/>
          <a:ln w="19050">
            <a:solidFill>
              <a:srgbClr val="00B0F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6647" name="Content Placeholder 4"/>
          <p:cNvSpPr>
            <a:spLocks noGrp="1"/>
          </p:cNvSpPr>
          <p:nvPr>
            <p:ph sz="half" idx="4294967295"/>
          </p:nvPr>
        </p:nvSpPr>
        <p:spPr>
          <a:xfrm>
            <a:off x="549275" y="1268413"/>
            <a:ext cx="11026775" cy="450850"/>
          </a:xfrm>
        </p:spPr>
        <p:txBody>
          <a:bodyPr lIns="90000" tIns="45000" rIns="90000" bIns="45000"/>
          <a:lstStyle/>
          <a:p>
            <a:pPr marL="0" indent="0" eaLnBrk="1" hangingPunct="1">
              <a:lnSpc>
                <a:spcPct val="104000"/>
              </a:lnSpc>
              <a:spcAft>
                <a:spcPct val="0"/>
              </a:spcAft>
              <a:buClr>
                <a:srgbClr val="0072A8"/>
              </a:buClr>
              <a:buSzPct val="110000"/>
              <a:buFont typeface="Arial" charset="0"/>
              <a:buChar char="•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altLang="en-US" sz="2200"/>
              <a:t> Cellular technologies are merging, what about V2X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27008CFB-FC48-7C4A-A4EE-E0E21C0687CA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11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8675" name="Content Placeholder 3"/>
          <p:cNvSpPr>
            <a:spLocks noGrp="1"/>
          </p:cNvSpPr>
          <p:nvPr>
            <p:ph idx="11"/>
          </p:nvPr>
        </p:nvSpPr>
        <p:spPr>
          <a:xfrm>
            <a:off x="622300" y="620713"/>
            <a:ext cx="10953750" cy="647700"/>
          </a:xfrm>
        </p:spPr>
        <p:txBody>
          <a:bodyPr/>
          <a:lstStyle/>
          <a:p>
            <a:r>
              <a:rPr lang="en-US" altLang="en-US"/>
              <a:t>Annex B: Evolution of IMS Standardization</a:t>
            </a:r>
          </a:p>
        </p:txBody>
      </p:sp>
      <p:sp>
        <p:nvSpPr>
          <p:cNvPr id="28676" name="오각형 45"/>
          <p:cNvSpPr>
            <a:spLocks noChangeArrowheads="1"/>
          </p:cNvSpPr>
          <p:nvPr/>
        </p:nvSpPr>
        <p:spPr bwMode="auto">
          <a:xfrm>
            <a:off x="4040188" y="1885950"/>
            <a:ext cx="1800225" cy="504825"/>
          </a:xfrm>
          <a:prstGeom prst="homePlate">
            <a:avLst>
              <a:gd name="adj" fmla="val 49925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Release 6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77" name="오각형 2"/>
          <p:cNvSpPr>
            <a:spLocks noChangeArrowheads="1"/>
          </p:cNvSpPr>
          <p:nvPr/>
        </p:nvSpPr>
        <p:spPr bwMode="auto">
          <a:xfrm>
            <a:off x="1846263" y="1916113"/>
            <a:ext cx="2160587" cy="504825"/>
          </a:xfrm>
          <a:prstGeom prst="homePlate">
            <a:avLst>
              <a:gd name="adj" fmla="val 49932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Pre 3GPP</a:t>
            </a:r>
            <a:br>
              <a:rPr lang="en-US" altLang="ko-KR" b="1">
                <a:solidFill>
                  <a:schemeClr val="tx1"/>
                </a:solidFill>
              </a:rPr>
            </a:br>
            <a:r>
              <a:rPr lang="en-US" altLang="ko-KR" b="1">
                <a:solidFill>
                  <a:schemeClr val="tx1"/>
                </a:solidFill>
              </a:rPr>
              <a:t>Release 6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78" name="직사각형 1"/>
          <p:cNvSpPr>
            <a:spLocks noChangeArrowheads="1"/>
          </p:cNvSpPr>
          <p:nvPr/>
        </p:nvSpPr>
        <p:spPr bwMode="auto">
          <a:xfrm>
            <a:off x="404813" y="2708275"/>
            <a:ext cx="1295400" cy="1152525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79" name="직사각형 1"/>
          <p:cNvSpPr>
            <a:spLocks noChangeArrowheads="1"/>
          </p:cNvSpPr>
          <p:nvPr/>
        </p:nvSpPr>
        <p:spPr bwMode="auto">
          <a:xfrm>
            <a:off x="2349500" y="4495800"/>
            <a:ext cx="3744913" cy="1525588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2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0" name="직사각형 1"/>
          <p:cNvSpPr>
            <a:spLocks noChangeArrowheads="1"/>
          </p:cNvSpPr>
          <p:nvPr/>
        </p:nvSpPr>
        <p:spPr bwMode="auto">
          <a:xfrm>
            <a:off x="2028825" y="2841625"/>
            <a:ext cx="1727200" cy="46831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IMS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1" name="직사각형 1"/>
          <p:cNvSpPr>
            <a:spLocks noChangeArrowheads="1"/>
          </p:cNvSpPr>
          <p:nvPr/>
        </p:nvSpPr>
        <p:spPr bwMode="auto">
          <a:xfrm>
            <a:off x="7173913" y="5257800"/>
            <a:ext cx="1622425" cy="47466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IMS Release-1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2" name="오각형 45"/>
          <p:cNvSpPr>
            <a:spLocks noChangeArrowheads="1"/>
          </p:cNvSpPr>
          <p:nvPr/>
        </p:nvSpPr>
        <p:spPr bwMode="auto">
          <a:xfrm>
            <a:off x="5875338" y="1885950"/>
            <a:ext cx="1800225" cy="504825"/>
          </a:xfrm>
          <a:prstGeom prst="homePlate">
            <a:avLst>
              <a:gd name="adj" fmla="val 49925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Release 7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3" name="오각형 45"/>
          <p:cNvSpPr>
            <a:spLocks noChangeArrowheads="1"/>
          </p:cNvSpPr>
          <p:nvPr/>
        </p:nvSpPr>
        <p:spPr bwMode="auto">
          <a:xfrm>
            <a:off x="7740650" y="1879600"/>
            <a:ext cx="1800225" cy="504825"/>
          </a:xfrm>
          <a:prstGeom prst="homePlate">
            <a:avLst>
              <a:gd name="adj" fmla="val 49925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Release 8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4" name="오각형 45"/>
          <p:cNvSpPr>
            <a:spLocks noChangeArrowheads="1"/>
          </p:cNvSpPr>
          <p:nvPr/>
        </p:nvSpPr>
        <p:spPr bwMode="auto">
          <a:xfrm>
            <a:off x="9605963" y="1874838"/>
            <a:ext cx="1800225" cy="504825"/>
          </a:xfrm>
          <a:prstGeom prst="homePlate">
            <a:avLst>
              <a:gd name="adj" fmla="val 49925"/>
            </a:avLst>
          </a:prstGeom>
          <a:solidFill>
            <a:srgbClr val="FFFD7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3GPP Release 9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5" name="직사각형 1"/>
          <p:cNvSpPr>
            <a:spLocks noChangeArrowheads="1"/>
          </p:cNvSpPr>
          <p:nvPr/>
        </p:nvSpPr>
        <p:spPr bwMode="auto">
          <a:xfrm>
            <a:off x="4060825" y="2841625"/>
            <a:ext cx="1728788" cy="67151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mmon IMS (i.e. Access agnostic)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6" name="직사각형 1"/>
          <p:cNvSpPr>
            <a:spLocks noChangeArrowheads="1"/>
          </p:cNvSpPr>
          <p:nvPr/>
        </p:nvSpPr>
        <p:spPr bwMode="auto">
          <a:xfrm>
            <a:off x="5919788" y="2841625"/>
            <a:ext cx="1727200" cy="67151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mmon IMS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7" name="직사각형 1"/>
          <p:cNvSpPr>
            <a:spLocks noChangeArrowheads="1"/>
          </p:cNvSpPr>
          <p:nvPr/>
        </p:nvSpPr>
        <p:spPr bwMode="auto">
          <a:xfrm>
            <a:off x="7777163" y="2841625"/>
            <a:ext cx="1728787" cy="803275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mmon IMS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8" name="직사각형 1"/>
          <p:cNvSpPr>
            <a:spLocks noChangeArrowheads="1"/>
          </p:cNvSpPr>
          <p:nvPr/>
        </p:nvSpPr>
        <p:spPr bwMode="auto">
          <a:xfrm>
            <a:off x="9636125" y="2841625"/>
            <a:ext cx="1728788" cy="1019175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mmon IMS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89" name="직사각형 1"/>
          <p:cNvSpPr>
            <a:spLocks noChangeArrowheads="1"/>
          </p:cNvSpPr>
          <p:nvPr/>
        </p:nvSpPr>
        <p:spPr bwMode="auto">
          <a:xfrm>
            <a:off x="7031038" y="4495800"/>
            <a:ext cx="3743325" cy="1525588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TISPAN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28690" name="직사각형 1"/>
          <p:cNvSpPr>
            <a:spLocks noChangeArrowheads="1"/>
          </p:cNvSpPr>
          <p:nvPr/>
        </p:nvSpPr>
        <p:spPr bwMode="auto">
          <a:xfrm>
            <a:off x="9005888" y="5257800"/>
            <a:ext cx="1624012" cy="474663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IMS Release-2 specs</a:t>
            </a:r>
            <a:endParaRPr lang="ko-KR" altLang="en-US" b="1">
              <a:solidFill>
                <a:schemeClr val="tx1"/>
              </a:solidFill>
            </a:endParaRPr>
          </a:p>
        </p:txBody>
      </p:sp>
      <p:cxnSp>
        <p:nvCxnSpPr>
          <p:cNvPr id="28691" name="직선 화살표 연결선 33"/>
          <p:cNvCxnSpPr>
            <a:cxnSpLocks noChangeShapeType="1"/>
            <a:stCxn id="28681" idx="0"/>
            <a:endCxn id="28686" idx="2"/>
          </p:cNvCxnSpPr>
          <p:nvPr/>
        </p:nvCxnSpPr>
        <p:spPr bwMode="auto">
          <a:xfrm flipH="1" flipV="1">
            <a:off x="6783388" y="3513138"/>
            <a:ext cx="1201737" cy="1744662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692" name="직선 화살표 연결선 33"/>
          <p:cNvCxnSpPr>
            <a:cxnSpLocks noChangeShapeType="1"/>
            <a:stCxn id="28690" idx="0"/>
            <a:endCxn id="28687" idx="2"/>
          </p:cNvCxnSpPr>
          <p:nvPr/>
        </p:nvCxnSpPr>
        <p:spPr bwMode="auto">
          <a:xfrm flipH="1" flipV="1">
            <a:off x="8642350" y="3644900"/>
            <a:ext cx="1176338" cy="1612900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693" name="직사각형 1"/>
          <p:cNvSpPr>
            <a:spLocks noChangeArrowheads="1"/>
          </p:cNvSpPr>
          <p:nvPr/>
        </p:nvSpPr>
        <p:spPr bwMode="auto">
          <a:xfrm>
            <a:off x="2600325" y="5313363"/>
            <a:ext cx="1622425" cy="474662"/>
          </a:xfrm>
          <a:prstGeom prst="rect">
            <a:avLst/>
          </a:prstGeom>
          <a:solidFill>
            <a:srgbClr val="FFCDC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MMD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specs</a:t>
            </a:r>
            <a:endParaRPr lang="ko-KR" altLang="en-US" b="1">
              <a:solidFill>
                <a:schemeClr val="tx1"/>
              </a:solidFill>
            </a:endParaRPr>
          </a:p>
        </p:txBody>
      </p:sp>
      <p:cxnSp>
        <p:nvCxnSpPr>
          <p:cNvPr id="28694" name="직선 화살표 연결선 33"/>
          <p:cNvCxnSpPr>
            <a:cxnSpLocks noChangeShapeType="1"/>
            <a:stCxn id="28693" idx="0"/>
            <a:endCxn id="28687" idx="2"/>
          </p:cNvCxnSpPr>
          <p:nvPr/>
        </p:nvCxnSpPr>
        <p:spPr bwMode="auto">
          <a:xfrm flipV="1">
            <a:off x="3411538" y="3644900"/>
            <a:ext cx="5230812" cy="1668463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695" name="Content Placeholder 4"/>
          <p:cNvSpPr>
            <a:spLocks noGrp="1"/>
          </p:cNvSpPr>
          <p:nvPr>
            <p:ph sz="half" idx="4294967295"/>
          </p:nvPr>
        </p:nvSpPr>
        <p:spPr>
          <a:xfrm>
            <a:off x="549275" y="1268413"/>
            <a:ext cx="11026775" cy="450850"/>
          </a:xfrm>
        </p:spPr>
        <p:txBody>
          <a:bodyPr lIns="90000" tIns="45000" rIns="90000" bIns="45000"/>
          <a:lstStyle/>
          <a:p>
            <a:pPr marL="0" indent="0" eaLnBrk="1" hangingPunct="1">
              <a:lnSpc>
                <a:spcPct val="104000"/>
              </a:lnSpc>
              <a:spcAft>
                <a:spcPct val="0"/>
              </a:spcAft>
              <a:buClr>
                <a:srgbClr val="0072A8"/>
              </a:buClr>
              <a:buSzPct val="110000"/>
              <a:buFont typeface="Arial" charset="0"/>
              <a:buChar char="•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altLang="en-US" sz="2200"/>
              <a:t> IMS specification also converged, then what about V2X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FF7CB2C2-FA73-EA4B-905D-EF80FEAF10B8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12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30723" name="Content Placeholder 3"/>
          <p:cNvSpPr>
            <a:spLocks noGrp="1"/>
          </p:cNvSpPr>
          <p:nvPr>
            <p:ph idx="11"/>
          </p:nvPr>
        </p:nvSpPr>
        <p:spPr>
          <a:xfrm>
            <a:off x="622300" y="620713"/>
            <a:ext cx="10953750" cy="647700"/>
          </a:xfrm>
        </p:spPr>
        <p:txBody>
          <a:bodyPr/>
          <a:lstStyle/>
          <a:p>
            <a:r>
              <a:rPr lang="en-US" altLang="en-US"/>
              <a:t>Annex C: Co-existence example</a:t>
            </a:r>
          </a:p>
        </p:txBody>
      </p:sp>
      <p:sp>
        <p:nvSpPr>
          <p:cNvPr id="30724" name="Content Placeholder 4"/>
          <p:cNvSpPr>
            <a:spLocks noGrp="1"/>
          </p:cNvSpPr>
          <p:nvPr>
            <p:ph sz="half" idx="4294967295"/>
          </p:nvPr>
        </p:nvSpPr>
        <p:spPr>
          <a:xfrm>
            <a:off x="549275" y="1268413"/>
            <a:ext cx="11026775" cy="450850"/>
          </a:xfrm>
        </p:spPr>
        <p:txBody>
          <a:bodyPr lIns="90000" tIns="45000" rIns="90000" bIns="45000"/>
          <a:lstStyle/>
          <a:p>
            <a:pPr marL="0" indent="0" eaLnBrk="1" hangingPunct="1">
              <a:lnSpc>
                <a:spcPct val="104000"/>
              </a:lnSpc>
              <a:spcAft>
                <a:spcPct val="0"/>
              </a:spcAft>
              <a:buClr>
                <a:srgbClr val="0072A8"/>
              </a:buClr>
              <a:buSzPct val="110000"/>
              <a:buFont typeface="Arial" charset="0"/>
              <a:buChar char="•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</a:pPr>
            <a:r>
              <a:rPr lang="en-US" altLang="en-US" sz="2200"/>
              <a:t> 5GAA’s approach on co-existence</a:t>
            </a:r>
          </a:p>
        </p:txBody>
      </p:sp>
      <p:pic>
        <p:nvPicPr>
          <p:cNvPr id="30725" name="그림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5" y="2740025"/>
            <a:ext cx="3208338" cy="151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6" name="그림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663" y="2505075"/>
            <a:ext cx="4641850" cy="223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그림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7713" y="2517775"/>
            <a:ext cx="3768725" cy="195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E06F4E6B-7B41-1F42-9BB0-2D3023957300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13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32771" name="Rectangle 4"/>
          <p:cNvSpPr>
            <a:spLocks noChangeArrowheads="1"/>
          </p:cNvSpPr>
          <p:nvPr/>
        </p:nvSpPr>
        <p:spPr bwMode="auto">
          <a:xfrm>
            <a:off x="1846263" y="2133600"/>
            <a:ext cx="8137525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5000" rIns="90000" bIns="45000"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ts val="1000"/>
              </a:spcBef>
              <a:buSzPct val="100000"/>
            </a:pPr>
            <a:r>
              <a:rPr lang="en-US" altLang="en-US" sz="3600" b="1">
                <a:solidFill>
                  <a:srgbClr val="006DA7"/>
                </a:solidFill>
                <a:latin typeface="Verdana" charset="0"/>
              </a:rPr>
              <a:t>Thank you</a:t>
            </a:r>
          </a:p>
        </p:txBody>
      </p:sp>
      <p:sp>
        <p:nvSpPr>
          <p:cNvPr id="32772" name="Rectangle 5"/>
          <p:cNvSpPr>
            <a:spLocks noChangeArrowheads="1"/>
          </p:cNvSpPr>
          <p:nvPr/>
        </p:nvSpPr>
        <p:spPr bwMode="auto">
          <a:xfrm>
            <a:off x="1198563" y="3068638"/>
            <a:ext cx="9694862" cy="208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5000" rIns="90000" bIns="45000"/>
          <a:lstStyle>
            <a:lvl1pPr marL="215900" indent="-214313"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15900" algn="l"/>
                <a:tab pos="673100" algn="l"/>
                <a:tab pos="1130300" algn="l"/>
                <a:tab pos="1587500" algn="l"/>
                <a:tab pos="2044700" algn="l"/>
                <a:tab pos="2501900" algn="l"/>
                <a:tab pos="2959100" algn="l"/>
                <a:tab pos="3416300" algn="l"/>
                <a:tab pos="3873500" algn="l"/>
                <a:tab pos="4330700" algn="l"/>
                <a:tab pos="4787900" algn="l"/>
                <a:tab pos="5245100" algn="l"/>
                <a:tab pos="5702300" algn="l"/>
                <a:tab pos="6159500" algn="l"/>
                <a:tab pos="6616700" algn="l"/>
                <a:tab pos="7073900" algn="l"/>
                <a:tab pos="7531100" algn="l"/>
                <a:tab pos="7988300" algn="l"/>
                <a:tab pos="8445500" algn="l"/>
                <a:tab pos="8902700" algn="l"/>
                <a:tab pos="93599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 algn="ctr" eaLnBrk="1" hangingPunct="1">
              <a:lnSpc>
                <a:spcPct val="104000"/>
              </a:lnSpc>
              <a:buSzPct val="100000"/>
            </a:pPr>
            <a:r>
              <a:rPr lang="en-US" altLang="en-US" sz="2200" dirty="0">
                <a:solidFill>
                  <a:srgbClr val="000000"/>
                </a:solidFill>
                <a:latin typeface="Verdana" charset="0"/>
              </a:rPr>
              <a:t>For more information, please contact:  </a:t>
            </a:r>
            <a:r>
              <a:rPr lang="en-US" altLang="en-US" sz="2200" dirty="0" err="1">
                <a:solidFill>
                  <a:srgbClr val="000000"/>
                </a:solidFill>
                <a:latin typeface="Verdana" charset="0"/>
              </a:rPr>
              <a:t>Sungduck</a:t>
            </a:r>
            <a:r>
              <a:rPr lang="en-US" altLang="en-US" sz="2200" dirty="0">
                <a:solidFill>
                  <a:srgbClr val="000000"/>
                </a:solidFill>
                <a:latin typeface="Verdana" charset="0"/>
              </a:rPr>
              <a:t> Chun</a:t>
            </a:r>
          </a:p>
          <a:p>
            <a:pPr algn="ctr" eaLnBrk="1" hangingPunct="1">
              <a:lnSpc>
                <a:spcPct val="104000"/>
              </a:lnSpc>
              <a:buSzPct val="100000"/>
            </a:pPr>
            <a:r>
              <a:rPr lang="en-US" altLang="en-US" sz="2200" smtClean="0">
                <a:solidFill>
                  <a:srgbClr val="006DA7"/>
                </a:solidFill>
                <a:latin typeface="Verdana" charset="0"/>
                <a:hlinkClick r:id="rId3"/>
              </a:rPr>
              <a:t>sungduck.chun@lge.com</a:t>
            </a:r>
            <a:r>
              <a:rPr lang="en-US" altLang="en-US" sz="2200" dirty="0" smtClean="0">
                <a:solidFill>
                  <a:srgbClr val="006DA7"/>
                </a:solidFill>
                <a:latin typeface="Verdana" charset="0"/>
                <a:hlinkClick r:id="rId3"/>
              </a:rPr>
              <a:t>  </a:t>
            </a: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/>
            <a:r>
              <a:rPr lang="en-US" altLang="en-US" sz="2200" dirty="0">
                <a:solidFill>
                  <a:srgbClr val="000000"/>
                </a:solidFill>
                <a:latin typeface="Verdana" charset="0"/>
              </a:rPr>
              <a:t>Affiliation Name:  </a:t>
            </a:r>
          </a:p>
          <a:p>
            <a:pPr algn="ctr"/>
            <a:r>
              <a:rPr lang="en-US" altLang="en-US" sz="2200" dirty="0">
                <a:solidFill>
                  <a:srgbClr val="006DA7"/>
                </a:solidFill>
                <a:latin typeface="Verdana" charset="0"/>
                <a:hlinkClick r:id="rId4"/>
              </a:rPr>
              <a:t>www.lge.com </a:t>
            </a:r>
            <a:r>
              <a:rPr lang="en-US" altLang="en-US" sz="2200" dirty="0">
                <a:solidFill>
                  <a:srgbClr val="006DA7"/>
                </a:solidFill>
                <a:latin typeface="Verdana" charset="0"/>
              </a:rPr>
              <a:t> </a:t>
            </a: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6DA7"/>
              </a:solidFill>
              <a:latin typeface="Verdana" charset="0"/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400" dirty="0">
              <a:solidFill>
                <a:srgbClr val="000000"/>
              </a:solidFill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0000"/>
              </a:solidFill>
            </a:endParaRPr>
          </a:p>
          <a:p>
            <a:pPr algn="ctr" eaLnBrk="1" hangingPunct="1">
              <a:lnSpc>
                <a:spcPct val="104000"/>
              </a:lnSpc>
              <a:buSzPct val="100000"/>
            </a:pPr>
            <a:r>
              <a:rPr lang="en-US" altLang="en-US" sz="2200" dirty="0">
                <a:solidFill>
                  <a:srgbClr val="000000"/>
                </a:solidFill>
              </a:rPr>
              <a:t> </a:t>
            </a:r>
          </a:p>
          <a:p>
            <a:pPr algn="ctr" eaLnBrk="1" hangingPunct="1">
              <a:lnSpc>
                <a:spcPct val="104000"/>
              </a:lnSpc>
              <a:buSzPct val="100000"/>
            </a:pPr>
            <a:endParaRPr lang="en-US" altLang="en-US" sz="2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F76C6754-C171-604A-96AB-28E6CFE4D918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2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0243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Topics in this presentation</a:t>
            </a:r>
          </a:p>
        </p:txBody>
      </p:sp>
      <p:sp>
        <p:nvSpPr>
          <p:cNvPr id="10244" name="Content Placeholder 4"/>
          <p:cNvSpPr>
            <a:spLocks noGrp="1"/>
          </p:cNvSpPr>
          <p:nvPr>
            <p:ph sz="half" idx="12"/>
          </p:nvPr>
        </p:nvSpPr>
        <p:spPr>
          <a:xfrm>
            <a:off x="549275" y="1412875"/>
            <a:ext cx="9145588" cy="1295400"/>
          </a:xfrm>
        </p:spPr>
        <p:txBody>
          <a:bodyPr/>
          <a:lstStyle/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Introduction to autonomous vehicles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The role of communication in autonomous vehicles 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Standardization activities of C-V2X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Performance of C-V2X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Topics for discussion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endParaRPr lang="en-US" altLang="en-US" sz="2200"/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endParaRPr lang="en-US" altLang="en-US" sz="22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9FC2D479-9837-A94B-9273-27970CC61469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3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2291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Levels of autonomous driving</a:t>
            </a:r>
          </a:p>
        </p:txBody>
      </p:sp>
      <p:sp>
        <p:nvSpPr>
          <p:cNvPr id="12292" name="Content Placeholder 4"/>
          <p:cNvSpPr>
            <a:spLocks noGrp="1"/>
          </p:cNvSpPr>
          <p:nvPr>
            <p:ph sz="half" idx="12"/>
          </p:nvPr>
        </p:nvSpPr>
        <p:spPr>
          <a:xfrm>
            <a:off x="549275" y="1412875"/>
            <a:ext cx="10729913" cy="1295400"/>
          </a:xfrm>
        </p:spPr>
        <p:txBody>
          <a:bodyPr/>
          <a:lstStyle/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There are multiple levels for autonomous vehicles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</a:pPr>
            <a:r>
              <a:rPr lang="en-US" altLang="en-US" sz="2200"/>
              <a:t> </a:t>
            </a:r>
          </a:p>
        </p:txBody>
      </p:sp>
      <p:sp>
        <p:nvSpPr>
          <p:cNvPr id="12293" name="오각형 49"/>
          <p:cNvSpPr>
            <a:spLocks noChangeArrowheads="1"/>
          </p:cNvSpPr>
          <p:nvPr/>
        </p:nvSpPr>
        <p:spPr bwMode="auto">
          <a:xfrm>
            <a:off x="9226550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5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Full automation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4" name="오각형 48"/>
          <p:cNvSpPr>
            <a:spLocks noChangeArrowheads="1"/>
          </p:cNvSpPr>
          <p:nvPr/>
        </p:nvSpPr>
        <p:spPr bwMode="auto">
          <a:xfrm>
            <a:off x="7283450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4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High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5" name="오각형 46"/>
          <p:cNvSpPr>
            <a:spLocks noChangeArrowheads="1"/>
          </p:cNvSpPr>
          <p:nvPr/>
        </p:nvSpPr>
        <p:spPr bwMode="auto">
          <a:xfrm>
            <a:off x="5338763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3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Conditional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6" name="오각형 45"/>
          <p:cNvSpPr>
            <a:spLocks noChangeArrowheads="1"/>
          </p:cNvSpPr>
          <p:nvPr/>
        </p:nvSpPr>
        <p:spPr bwMode="auto">
          <a:xfrm>
            <a:off x="3394075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2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Partial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7" name="오각형 2"/>
          <p:cNvSpPr>
            <a:spLocks noChangeArrowheads="1"/>
          </p:cNvSpPr>
          <p:nvPr/>
        </p:nvSpPr>
        <p:spPr bwMode="auto">
          <a:xfrm>
            <a:off x="1449388" y="1916113"/>
            <a:ext cx="2124075" cy="504825"/>
          </a:xfrm>
          <a:prstGeom prst="homePlate">
            <a:avLst>
              <a:gd name="adj" fmla="val 49926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1</a:t>
            </a:r>
          </a:p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Driver Assistance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298" name="Content Placeholder 1"/>
          <p:cNvSpPr>
            <a:spLocks noGrp="1"/>
          </p:cNvSpPr>
          <p:nvPr>
            <p:ph idx="4294967295"/>
          </p:nvPr>
        </p:nvSpPr>
        <p:spPr>
          <a:xfrm>
            <a:off x="1449388" y="2562225"/>
            <a:ext cx="1944687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ing assistance by using either steering or braking/ acceleration</a:t>
            </a:r>
          </a:p>
        </p:txBody>
      </p:sp>
      <p:sp>
        <p:nvSpPr>
          <p:cNvPr id="12299" name="Content Placeholder 1"/>
          <p:cNvSpPr>
            <a:spLocks noGrp="1"/>
          </p:cNvSpPr>
          <p:nvPr>
            <p:ph idx="4294967295"/>
          </p:nvPr>
        </p:nvSpPr>
        <p:spPr>
          <a:xfrm>
            <a:off x="3394075" y="2562225"/>
            <a:ext cx="1944688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er assistance by combining multiple operation simultaneously (e.g. by steering control while accelerating)</a:t>
            </a:r>
          </a:p>
        </p:txBody>
      </p:sp>
      <p:sp>
        <p:nvSpPr>
          <p:cNvPr id="12300" name="Content Placeholder 1"/>
          <p:cNvSpPr>
            <a:spLocks noGrp="1"/>
          </p:cNvSpPr>
          <p:nvPr>
            <p:ph idx="4294967295"/>
          </p:nvPr>
        </p:nvSpPr>
        <p:spPr>
          <a:xfrm>
            <a:off x="5338763" y="2562225"/>
            <a:ext cx="1944687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ing control with assumption that drivers can intervene when requested</a:t>
            </a:r>
          </a:p>
        </p:txBody>
      </p:sp>
      <p:sp>
        <p:nvSpPr>
          <p:cNvPr id="12301" name="Content Placeholder 1"/>
          <p:cNvSpPr>
            <a:spLocks noGrp="1"/>
          </p:cNvSpPr>
          <p:nvPr>
            <p:ph idx="4294967295"/>
          </p:nvPr>
        </p:nvSpPr>
        <p:spPr>
          <a:xfrm>
            <a:off x="7283450" y="2562225"/>
            <a:ext cx="1943100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ing control even if drivers can not react immediately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Not applicable to all scenarios (e.g. highway driving, parking) </a:t>
            </a:r>
          </a:p>
        </p:txBody>
      </p:sp>
      <p:sp>
        <p:nvSpPr>
          <p:cNvPr id="12302" name="Content Placeholder 1"/>
          <p:cNvSpPr>
            <a:spLocks noGrp="1"/>
          </p:cNvSpPr>
          <p:nvPr>
            <p:ph idx="4294967295"/>
          </p:nvPr>
        </p:nvSpPr>
        <p:spPr>
          <a:xfrm>
            <a:off x="9226550" y="2562225"/>
            <a:ext cx="1944688" cy="15875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ing control even if drivers can not react immediately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pplicable full-time</a:t>
            </a:r>
          </a:p>
        </p:txBody>
      </p:sp>
      <p:sp>
        <p:nvSpPr>
          <p:cNvPr id="12303" name="직사각형 66"/>
          <p:cNvSpPr>
            <a:spLocks noChangeArrowheads="1"/>
          </p:cNvSpPr>
          <p:nvPr/>
        </p:nvSpPr>
        <p:spPr bwMode="auto">
          <a:xfrm>
            <a:off x="190500" y="2562225"/>
            <a:ext cx="1150938" cy="1587500"/>
          </a:xfrm>
          <a:prstGeom prst="rect">
            <a:avLst/>
          </a:prstGeom>
          <a:solidFill>
            <a:srgbClr val="FEFEC4">
              <a:alpha val="54117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Overview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304" name="직사각형 67"/>
          <p:cNvSpPr>
            <a:spLocks noChangeArrowheads="1"/>
          </p:cNvSpPr>
          <p:nvPr/>
        </p:nvSpPr>
        <p:spPr bwMode="auto">
          <a:xfrm>
            <a:off x="190500" y="4365625"/>
            <a:ext cx="1150938" cy="1585913"/>
          </a:xfrm>
          <a:prstGeom prst="rect">
            <a:avLst/>
          </a:prstGeom>
          <a:solidFill>
            <a:srgbClr val="FEFEC4">
              <a:alpha val="54117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Benefit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2305" name="Content Placeholder 1"/>
          <p:cNvSpPr>
            <a:spLocks noGrp="1"/>
          </p:cNvSpPr>
          <p:nvPr>
            <p:ph idx="4294967295"/>
          </p:nvPr>
        </p:nvSpPr>
        <p:spPr>
          <a:xfrm>
            <a:off x="1449388" y="4365625"/>
            <a:ext cx="1944687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ssist drivers attention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ssist driver with basic repetitive operations</a:t>
            </a:r>
          </a:p>
        </p:txBody>
      </p:sp>
      <p:sp>
        <p:nvSpPr>
          <p:cNvPr id="12306" name="Content Placeholder 1"/>
          <p:cNvSpPr>
            <a:spLocks noGrp="1"/>
          </p:cNvSpPr>
          <p:nvPr>
            <p:ph idx="4294967295"/>
          </p:nvPr>
        </p:nvSpPr>
        <p:spPr>
          <a:xfrm>
            <a:off x="3394075" y="4365625"/>
            <a:ext cx="1944688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ssist driver by doing some operations such as lane changing. 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Burden on the driver can be reduced</a:t>
            </a:r>
          </a:p>
        </p:txBody>
      </p:sp>
      <p:sp>
        <p:nvSpPr>
          <p:cNvPr id="12307" name="Content Placeholder 1"/>
          <p:cNvSpPr>
            <a:spLocks noGrp="1"/>
          </p:cNvSpPr>
          <p:nvPr>
            <p:ph idx="4294967295"/>
          </p:nvPr>
        </p:nvSpPr>
        <p:spPr>
          <a:xfrm>
            <a:off x="5338763" y="4365625"/>
            <a:ext cx="1944687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ers may do other tasks as long as drivers can take control when requested by driving system</a:t>
            </a:r>
          </a:p>
        </p:txBody>
      </p:sp>
      <p:sp>
        <p:nvSpPr>
          <p:cNvPr id="12308" name="Content Placeholder 1"/>
          <p:cNvSpPr>
            <a:spLocks noGrp="1"/>
          </p:cNvSpPr>
          <p:nvPr>
            <p:ph idx="4294967295"/>
          </p:nvPr>
        </p:nvSpPr>
        <p:spPr>
          <a:xfrm>
            <a:off x="7283450" y="4365625"/>
            <a:ext cx="1943100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In certain scenario, driver can do other task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Efficient use of time by drivers</a:t>
            </a:r>
          </a:p>
        </p:txBody>
      </p:sp>
      <p:sp>
        <p:nvSpPr>
          <p:cNvPr id="12309" name="Content Placeholder 1"/>
          <p:cNvSpPr>
            <a:spLocks noGrp="1"/>
          </p:cNvSpPr>
          <p:nvPr>
            <p:ph idx="4294967295"/>
          </p:nvPr>
        </p:nvSpPr>
        <p:spPr>
          <a:xfrm>
            <a:off x="9226550" y="4365625"/>
            <a:ext cx="1944688" cy="1585913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rivers can always do other tasks than driving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Reduced traffic jam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Operation efficiency of vehicles maximized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</a:pPr>
            <a:endParaRPr lang="en-US" altLang="en-US" sz="13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1512C8DA-4523-D54A-BD8D-FFBD872630E6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4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4339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Elements to the next levels</a:t>
            </a:r>
          </a:p>
        </p:txBody>
      </p:sp>
      <p:sp>
        <p:nvSpPr>
          <p:cNvPr id="14340" name="Content Placeholder 4"/>
          <p:cNvSpPr>
            <a:spLocks noGrp="1"/>
          </p:cNvSpPr>
          <p:nvPr>
            <p:ph sz="half" idx="12"/>
          </p:nvPr>
        </p:nvSpPr>
        <p:spPr>
          <a:xfrm>
            <a:off x="549275" y="1412875"/>
            <a:ext cx="10729913" cy="1295400"/>
          </a:xfrm>
        </p:spPr>
        <p:txBody>
          <a:bodyPr/>
          <a:lstStyle/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 There are multiple levels for autonomous vehicles</a:t>
            </a:r>
          </a:p>
          <a:p>
            <a:pPr marL="0" indent="0" eaLnBrk="1" hangingPunct="1">
              <a:lnSpc>
                <a:spcPct val="104000"/>
              </a:lnSpc>
              <a:buClr>
                <a:srgbClr val="0072A8"/>
              </a:buClr>
              <a:buSzPct val="110000"/>
            </a:pPr>
            <a:r>
              <a:rPr lang="en-US" altLang="en-US" sz="2200"/>
              <a:t> </a:t>
            </a:r>
          </a:p>
        </p:txBody>
      </p:sp>
      <p:sp>
        <p:nvSpPr>
          <p:cNvPr id="14341" name="오각형 49"/>
          <p:cNvSpPr>
            <a:spLocks noChangeArrowheads="1"/>
          </p:cNvSpPr>
          <p:nvPr/>
        </p:nvSpPr>
        <p:spPr bwMode="auto">
          <a:xfrm>
            <a:off x="10882313" y="1844675"/>
            <a:ext cx="1044575" cy="504825"/>
          </a:xfrm>
          <a:prstGeom prst="homePlate">
            <a:avLst>
              <a:gd name="adj" fmla="val 49948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5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2" name="오각형 48"/>
          <p:cNvSpPr>
            <a:spLocks noChangeArrowheads="1"/>
          </p:cNvSpPr>
          <p:nvPr/>
        </p:nvSpPr>
        <p:spPr bwMode="auto">
          <a:xfrm>
            <a:off x="10379075" y="2205038"/>
            <a:ext cx="1044575" cy="503237"/>
          </a:xfrm>
          <a:prstGeom prst="homePlate">
            <a:avLst>
              <a:gd name="adj" fmla="val 50105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4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3" name="오각형 46"/>
          <p:cNvSpPr>
            <a:spLocks noChangeArrowheads="1"/>
          </p:cNvSpPr>
          <p:nvPr/>
        </p:nvSpPr>
        <p:spPr bwMode="auto">
          <a:xfrm>
            <a:off x="7065963" y="2674938"/>
            <a:ext cx="1044575" cy="503237"/>
          </a:xfrm>
          <a:prstGeom prst="homePlate">
            <a:avLst>
              <a:gd name="adj" fmla="val 50105"/>
            </a:avLst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3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4" name="오각형 45"/>
          <p:cNvSpPr>
            <a:spLocks noChangeArrowheads="1"/>
          </p:cNvSpPr>
          <p:nvPr/>
        </p:nvSpPr>
        <p:spPr bwMode="auto">
          <a:xfrm>
            <a:off x="3849688" y="3429000"/>
            <a:ext cx="1044575" cy="503238"/>
          </a:xfrm>
          <a:prstGeom prst="homePlate">
            <a:avLst>
              <a:gd name="adj" fmla="val 50105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2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5" name="오각형 2"/>
          <p:cNvSpPr>
            <a:spLocks noChangeArrowheads="1"/>
          </p:cNvSpPr>
          <p:nvPr/>
        </p:nvSpPr>
        <p:spPr bwMode="auto">
          <a:xfrm>
            <a:off x="584200" y="4552950"/>
            <a:ext cx="1044575" cy="504825"/>
          </a:xfrm>
          <a:prstGeom prst="homePlate">
            <a:avLst>
              <a:gd name="adj" fmla="val 49948"/>
            </a:avLst>
          </a:prstGeom>
          <a:solidFill>
            <a:srgbClr val="FEFEC4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Level 1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46" name="오른쪽 화살표 21"/>
          <p:cNvSpPr>
            <a:spLocks noChangeArrowheads="1"/>
          </p:cNvSpPr>
          <p:nvPr/>
        </p:nvSpPr>
        <p:spPr bwMode="auto">
          <a:xfrm>
            <a:off x="8043863" y="2663825"/>
            <a:ext cx="2449512" cy="368300"/>
          </a:xfrm>
          <a:prstGeom prst="rightArrow">
            <a:avLst>
              <a:gd name="adj1" fmla="val 36500"/>
              <a:gd name="adj2" fmla="val 38766"/>
            </a:avLst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ko-KR" altLang="en-US">
              <a:solidFill>
                <a:srgbClr val="FF0000"/>
              </a:solidFill>
            </a:endParaRPr>
          </a:p>
        </p:txBody>
      </p:sp>
      <p:sp>
        <p:nvSpPr>
          <p:cNvPr id="14347" name="Content Placeholder 1"/>
          <p:cNvSpPr>
            <a:spLocks noGrp="1"/>
          </p:cNvSpPr>
          <p:nvPr>
            <p:ph idx="4294967295"/>
          </p:nvPr>
        </p:nvSpPr>
        <p:spPr>
          <a:xfrm>
            <a:off x="8183563" y="2959100"/>
            <a:ext cx="3743325" cy="2873375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Fully covered high definition map (e.g. even parking area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Dynamic map update (e.g. event-triggered map update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Reliability enhancement in sensing/decision/control (to support even eye-off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Infra-structure assistance (e.g. old vehicles, pedestrians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Understanding of other vehicle (e.g. behavior on curved road, or future trajectory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Cloud computing, artificial intelligence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</p:txBody>
      </p:sp>
      <p:sp>
        <p:nvSpPr>
          <p:cNvPr id="14348" name="오른쪽 화살표 25"/>
          <p:cNvSpPr>
            <a:spLocks noChangeArrowheads="1"/>
          </p:cNvSpPr>
          <p:nvPr/>
        </p:nvSpPr>
        <p:spPr bwMode="auto">
          <a:xfrm>
            <a:off x="4779963" y="3205163"/>
            <a:ext cx="2447925" cy="368300"/>
          </a:xfrm>
          <a:prstGeom prst="rightArrow">
            <a:avLst>
              <a:gd name="adj1" fmla="val 36500"/>
              <a:gd name="adj2" fmla="val 38741"/>
            </a:avLst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ko-KR" altLang="en-US">
              <a:solidFill>
                <a:srgbClr val="FF0000"/>
              </a:solidFill>
            </a:endParaRPr>
          </a:p>
        </p:txBody>
      </p:sp>
      <p:sp>
        <p:nvSpPr>
          <p:cNvPr id="14349" name="Content Placeholder 1"/>
          <p:cNvSpPr>
            <a:spLocks noGrp="1"/>
          </p:cNvSpPr>
          <p:nvPr>
            <p:ph idx="4294967295"/>
          </p:nvPr>
        </p:nvSpPr>
        <p:spPr>
          <a:xfrm>
            <a:off x="4926013" y="3500438"/>
            <a:ext cx="2463800" cy="224155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High definition positioning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High definition map (exit, merge, intersection, etc.)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ing non-visible area (e.g. during overtaking)</a:t>
            </a:r>
          </a:p>
        </p:txBody>
      </p:sp>
      <p:sp>
        <p:nvSpPr>
          <p:cNvPr id="14350" name="오른쪽 화살표 27"/>
          <p:cNvSpPr>
            <a:spLocks noChangeArrowheads="1"/>
          </p:cNvSpPr>
          <p:nvPr/>
        </p:nvSpPr>
        <p:spPr bwMode="auto">
          <a:xfrm>
            <a:off x="1514475" y="4230688"/>
            <a:ext cx="2447925" cy="366712"/>
          </a:xfrm>
          <a:prstGeom prst="rightArrow">
            <a:avLst>
              <a:gd name="adj1" fmla="val 36500"/>
              <a:gd name="adj2" fmla="val 38909"/>
            </a:avLst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endParaRPr lang="ko-KR" altLang="en-US">
              <a:solidFill>
                <a:srgbClr val="FF0000"/>
              </a:solidFill>
            </a:endParaRPr>
          </a:p>
        </p:txBody>
      </p:sp>
      <p:sp>
        <p:nvSpPr>
          <p:cNvPr id="14351" name="Content Placeholder 1"/>
          <p:cNvSpPr>
            <a:spLocks noGrp="1"/>
          </p:cNvSpPr>
          <p:nvPr>
            <p:ph idx="4294967295"/>
          </p:nvPr>
        </p:nvSpPr>
        <p:spPr>
          <a:xfrm>
            <a:off x="1649413" y="4508500"/>
            <a:ext cx="1944687" cy="1341438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Advance in sensor technologie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 fusion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Combination of multiple operation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</a:pPr>
            <a:endParaRPr lang="en-US" altLang="en-US" sz="1300"/>
          </a:p>
        </p:txBody>
      </p:sp>
      <p:cxnSp>
        <p:nvCxnSpPr>
          <p:cNvPr id="14352" name="직선 화살표 연결선 3"/>
          <p:cNvCxnSpPr>
            <a:cxnSpLocks noChangeShapeType="1"/>
          </p:cNvCxnSpPr>
          <p:nvPr/>
        </p:nvCxnSpPr>
        <p:spPr bwMode="auto">
          <a:xfrm flipH="1">
            <a:off x="549275" y="1989138"/>
            <a:ext cx="4230688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53" name="직선 연결선 5"/>
          <p:cNvCxnSpPr>
            <a:cxnSpLocks noChangeShapeType="1"/>
          </p:cNvCxnSpPr>
          <p:nvPr/>
        </p:nvCxnSpPr>
        <p:spPr bwMode="auto">
          <a:xfrm>
            <a:off x="4779963" y="1844675"/>
            <a:ext cx="0" cy="81915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4354" name="직선 화살표 연결선 33"/>
          <p:cNvCxnSpPr>
            <a:cxnSpLocks noChangeShapeType="1"/>
          </p:cNvCxnSpPr>
          <p:nvPr/>
        </p:nvCxnSpPr>
        <p:spPr bwMode="auto">
          <a:xfrm>
            <a:off x="4779963" y="1989138"/>
            <a:ext cx="3889375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355" name="직사각형 35"/>
          <p:cNvSpPr>
            <a:spLocks noChangeArrowheads="1"/>
          </p:cNvSpPr>
          <p:nvPr/>
        </p:nvSpPr>
        <p:spPr bwMode="auto">
          <a:xfrm>
            <a:off x="1270000" y="1854200"/>
            <a:ext cx="23241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Human-based driving</a:t>
            </a:r>
            <a:endParaRPr lang="ko-KR" altLang="en-US" b="1">
              <a:solidFill>
                <a:schemeClr val="tx1"/>
              </a:solidFill>
            </a:endParaRPr>
          </a:p>
        </p:txBody>
      </p:sp>
      <p:sp>
        <p:nvSpPr>
          <p:cNvPr id="14356" name="직사각형 36"/>
          <p:cNvSpPr>
            <a:spLocks noChangeArrowheads="1"/>
          </p:cNvSpPr>
          <p:nvPr/>
        </p:nvSpPr>
        <p:spPr bwMode="auto">
          <a:xfrm>
            <a:off x="5434013" y="1854200"/>
            <a:ext cx="23241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System-based driving</a:t>
            </a:r>
            <a:endParaRPr lang="ko-KR" altLang="en-US" b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E7EEA4AE-F037-3B46-8E6A-A49BF779F68F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5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Examples of limitation in case of sensors only</a:t>
            </a:r>
          </a:p>
        </p:txBody>
      </p:sp>
      <p:sp>
        <p:nvSpPr>
          <p:cNvPr id="16388" name="Oval 20"/>
          <p:cNvSpPr>
            <a:spLocks noChangeAspect="1" noChangeArrowheads="1"/>
          </p:cNvSpPr>
          <p:nvPr/>
        </p:nvSpPr>
        <p:spPr bwMode="auto">
          <a:xfrm rot="5400000">
            <a:off x="1987550" y="2014538"/>
            <a:ext cx="750888" cy="1452562"/>
          </a:xfrm>
          <a:prstGeom prst="ellipse">
            <a:avLst/>
          </a:prstGeom>
          <a:solidFill>
            <a:schemeClr val="folHlink">
              <a:alpha val="30196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rot="10800000" vert="eaVert" wrap="none" anchor="ctr"/>
          <a:lstStyle>
            <a:lvl1pPr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endParaRPr kumimoji="1" lang="ko-KR" altLang="en-US" sz="1400">
              <a:solidFill>
                <a:schemeClr val="tx1"/>
              </a:solidFill>
              <a:latin typeface="맑은 고딕" charset="-127"/>
              <a:ea typeface="맑은 고딕" charset="-127"/>
              <a:cs typeface="가는둥근제목체" charset="0"/>
            </a:endParaRPr>
          </a:p>
        </p:txBody>
      </p:sp>
      <p:grpSp>
        <p:nvGrpSpPr>
          <p:cNvPr id="16389" name="그룹 2"/>
          <p:cNvGrpSpPr>
            <a:grpSpLocks/>
          </p:cNvGrpSpPr>
          <p:nvPr/>
        </p:nvGrpSpPr>
        <p:grpSpPr bwMode="auto">
          <a:xfrm>
            <a:off x="452438" y="2219325"/>
            <a:ext cx="1490662" cy="1066800"/>
            <a:chOff x="1601625" y="3381897"/>
            <a:chExt cx="2576480" cy="2329672"/>
          </a:xfrm>
        </p:grpSpPr>
        <p:grpSp>
          <p:nvGrpSpPr>
            <p:cNvPr id="16421" name="Group 27"/>
            <p:cNvGrpSpPr>
              <a:grpSpLocks noChangeAspect="1"/>
            </p:cNvGrpSpPr>
            <p:nvPr/>
          </p:nvGrpSpPr>
          <p:grpSpPr bwMode="auto">
            <a:xfrm>
              <a:off x="2317620" y="4102451"/>
              <a:ext cx="1578510" cy="933362"/>
              <a:chOff x="173" y="619"/>
              <a:chExt cx="5499" cy="2644"/>
            </a:xfrm>
          </p:grpSpPr>
          <p:sp>
            <p:nvSpPr>
              <p:cNvPr id="16433" name="Freeform 28"/>
              <p:cNvSpPr>
                <a:spLocks noChangeAspect="1"/>
              </p:cNvSpPr>
              <p:nvPr/>
            </p:nvSpPr>
            <p:spPr bwMode="auto">
              <a:xfrm>
                <a:off x="173" y="813"/>
                <a:ext cx="5499" cy="2253"/>
              </a:xfrm>
              <a:custGeom>
                <a:avLst/>
                <a:gdLst>
                  <a:gd name="T0" fmla="*/ 1 w 9242"/>
                  <a:gd name="T1" fmla="*/ 1 h 3786"/>
                  <a:gd name="T2" fmla="*/ 1 w 9242"/>
                  <a:gd name="T3" fmla="*/ 1 h 3786"/>
                  <a:gd name="T4" fmla="*/ 1 w 9242"/>
                  <a:gd name="T5" fmla="*/ 1 h 3786"/>
                  <a:gd name="T6" fmla="*/ 1 w 9242"/>
                  <a:gd name="T7" fmla="*/ 1 h 3786"/>
                  <a:gd name="T8" fmla="*/ 1 w 9242"/>
                  <a:gd name="T9" fmla="*/ 1 h 3786"/>
                  <a:gd name="T10" fmla="*/ 1 w 9242"/>
                  <a:gd name="T11" fmla="*/ 1 h 3786"/>
                  <a:gd name="T12" fmla="*/ 1 w 9242"/>
                  <a:gd name="T13" fmla="*/ 1 h 3786"/>
                  <a:gd name="T14" fmla="*/ 1 w 9242"/>
                  <a:gd name="T15" fmla="*/ 1 h 3786"/>
                  <a:gd name="T16" fmla="*/ 1 w 9242"/>
                  <a:gd name="T17" fmla="*/ 1 h 3786"/>
                  <a:gd name="T18" fmla="*/ 1 w 9242"/>
                  <a:gd name="T19" fmla="*/ 1 h 3786"/>
                  <a:gd name="T20" fmla="*/ 1 w 9242"/>
                  <a:gd name="T21" fmla="*/ 1 h 3786"/>
                  <a:gd name="T22" fmla="*/ 1 w 9242"/>
                  <a:gd name="T23" fmla="*/ 1 h 3786"/>
                  <a:gd name="T24" fmla="*/ 1 w 9242"/>
                  <a:gd name="T25" fmla="*/ 1 h 3786"/>
                  <a:gd name="T26" fmla="*/ 1 w 9242"/>
                  <a:gd name="T27" fmla="*/ 1 h 3786"/>
                  <a:gd name="T28" fmla="*/ 1 w 9242"/>
                  <a:gd name="T29" fmla="*/ 1 h 3786"/>
                  <a:gd name="T30" fmla="*/ 1 w 9242"/>
                  <a:gd name="T31" fmla="*/ 1 h 3786"/>
                  <a:gd name="T32" fmla="*/ 1 w 9242"/>
                  <a:gd name="T33" fmla="*/ 1 h 3786"/>
                  <a:gd name="T34" fmla="*/ 1 w 9242"/>
                  <a:gd name="T35" fmla="*/ 1 h 3786"/>
                  <a:gd name="T36" fmla="*/ 1 w 9242"/>
                  <a:gd name="T37" fmla="*/ 1 h 3786"/>
                  <a:gd name="T38" fmla="*/ 1 w 9242"/>
                  <a:gd name="T39" fmla="*/ 1 h 3786"/>
                  <a:gd name="T40" fmla="*/ 1 w 9242"/>
                  <a:gd name="T41" fmla="*/ 1 h 3786"/>
                  <a:gd name="T42" fmla="*/ 1 w 9242"/>
                  <a:gd name="T43" fmla="*/ 1 h 3786"/>
                  <a:gd name="T44" fmla="*/ 1 w 9242"/>
                  <a:gd name="T45" fmla="*/ 1 h 3786"/>
                  <a:gd name="T46" fmla="*/ 1 w 9242"/>
                  <a:gd name="T47" fmla="*/ 1 h 3786"/>
                  <a:gd name="T48" fmla="*/ 1 w 9242"/>
                  <a:gd name="T49" fmla="*/ 1 h 3786"/>
                  <a:gd name="T50" fmla="*/ 1 w 9242"/>
                  <a:gd name="T51" fmla="*/ 1 h 3786"/>
                  <a:gd name="T52" fmla="*/ 1 w 9242"/>
                  <a:gd name="T53" fmla="*/ 1 h 3786"/>
                  <a:gd name="T54" fmla="*/ 1 w 9242"/>
                  <a:gd name="T55" fmla="*/ 1 h 3786"/>
                  <a:gd name="T56" fmla="*/ 1 w 9242"/>
                  <a:gd name="T57" fmla="*/ 1 h 3786"/>
                  <a:gd name="T58" fmla="*/ 1 w 9242"/>
                  <a:gd name="T59" fmla="*/ 1 h 3786"/>
                  <a:gd name="T60" fmla="*/ 1 w 9242"/>
                  <a:gd name="T61" fmla="*/ 1 h 3786"/>
                  <a:gd name="T62" fmla="*/ 1 w 9242"/>
                  <a:gd name="T63" fmla="*/ 1 h 3786"/>
                  <a:gd name="T64" fmla="*/ 1 w 9242"/>
                  <a:gd name="T65" fmla="*/ 1 h 3786"/>
                  <a:gd name="T66" fmla="*/ 1 w 9242"/>
                  <a:gd name="T67" fmla="*/ 1 h 3786"/>
                  <a:gd name="T68" fmla="*/ 0 w 9242"/>
                  <a:gd name="T69" fmla="*/ 1 h 3786"/>
                  <a:gd name="T70" fmla="*/ 1 w 9242"/>
                  <a:gd name="T71" fmla="*/ 1 h 3786"/>
                  <a:gd name="T72" fmla="*/ 1 w 9242"/>
                  <a:gd name="T73" fmla="*/ 1 h 3786"/>
                  <a:gd name="T74" fmla="*/ 1 w 9242"/>
                  <a:gd name="T75" fmla="*/ 1 h 3786"/>
                  <a:gd name="T76" fmla="*/ 1 w 9242"/>
                  <a:gd name="T77" fmla="*/ 1 h 378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242"/>
                  <a:gd name="T118" fmla="*/ 0 h 3786"/>
                  <a:gd name="T119" fmla="*/ 9242 w 9242"/>
                  <a:gd name="T120" fmla="*/ 3786 h 378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242" h="3786">
                    <a:moveTo>
                      <a:pt x="444" y="208"/>
                    </a:moveTo>
                    <a:lnTo>
                      <a:pt x="498" y="186"/>
                    </a:lnTo>
                    <a:lnTo>
                      <a:pt x="520" y="143"/>
                    </a:lnTo>
                    <a:lnTo>
                      <a:pt x="535" y="136"/>
                    </a:lnTo>
                    <a:cubicBezTo>
                      <a:pt x="553" y="133"/>
                      <a:pt x="555" y="138"/>
                      <a:pt x="627" y="127"/>
                    </a:cubicBezTo>
                    <a:cubicBezTo>
                      <a:pt x="699" y="116"/>
                      <a:pt x="760" y="85"/>
                      <a:pt x="967" y="68"/>
                    </a:cubicBezTo>
                    <a:cubicBezTo>
                      <a:pt x="1174" y="51"/>
                      <a:pt x="1572" y="32"/>
                      <a:pt x="1867" y="27"/>
                    </a:cubicBezTo>
                    <a:cubicBezTo>
                      <a:pt x="2162" y="22"/>
                      <a:pt x="2456" y="37"/>
                      <a:pt x="2737" y="39"/>
                    </a:cubicBezTo>
                    <a:cubicBezTo>
                      <a:pt x="3018" y="41"/>
                      <a:pt x="3054" y="41"/>
                      <a:pt x="3556" y="41"/>
                    </a:cubicBezTo>
                    <a:cubicBezTo>
                      <a:pt x="4058" y="41"/>
                      <a:pt x="5224" y="44"/>
                      <a:pt x="5748" y="42"/>
                    </a:cubicBezTo>
                    <a:cubicBezTo>
                      <a:pt x="6272" y="40"/>
                      <a:pt x="6401" y="31"/>
                      <a:pt x="6700" y="26"/>
                    </a:cubicBezTo>
                    <a:cubicBezTo>
                      <a:pt x="6999" y="21"/>
                      <a:pt x="7278" y="0"/>
                      <a:pt x="7542" y="11"/>
                    </a:cubicBezTo>
                    <a:cubicBezTo>
                      <a:pt x="7806" y="22"/>
                      <a:pt x="8080" y="37"/>
                      <a:pt x="8286" y="92"/>
                    </a:cubicBezTo>
                    <a:cubicBezTo>
                      <a:pt x="8492" y="147"/>
                      <a:pt x="8639" y="193"/>
                      <a:pt x="8779" y="339"/>
                    </a:cubicBezTo>
                    <a:cubicBezTo>
                      <a:pt x="8919" y="485"/>
                      <a:pt x="9051" y="708"/>
                      <a:pt x="9128" y="968"/>
                    </a:cubicBezTo>
                    <a:cubicBezTo>
                      <a:pt x="9205" y="1228"/>
                      <a:pt x="9242" y="1590"/>
                      <a:pt x="9242" y="1897"/>
                    </a:cubicBezTo>
                    <a:cubicBezTo>
                      <a:pt x="9242" y="2204"/>
                      <a:pt x="9209" y="2550"/>
                      <a:pt x="9131" y="2809"/>
                    </a:cubicBezTo>
                    <a:cubicBezTo>
                      <a:pt x="9053" y="3068"/>
                      <a:pt x="8921" y="3301"/>
                      <a:pt x="8773" y="3450"/>
                    </a:cubicBezTo>
                    <a:cubicBezTo>
                      <a:pt x="8625" y="3600"/>
                      <a:pt x="8464" y="3647"/>
                      <a:pt x="8242" y="3702"/>
                    </a:cubicBezTo>
                    <a:cubicBezTo>
                      <a:pt x="8020" y="3757"/>
                      <a:pt x="7704" y="3770"/>
                      <a:pt x="7442" y="3778"/>
                    </a:cubicBezTo>
                    <a:cubicBezTo>
                      <a:pt x="7180" y="3786"/>
                      <a:pt x="6955" y="3754"/>
                      <a:pt x="6670" y="3749"/>
                    </a:cubicBezTo>
                    <a:cubicBezTo>
                      <a:pt x="6385" y="3744"/>
                      <a:pt x="6252" y="3748"/>
                      <a:pt x="5732" y="3747"/>
                    </a:cubicBezTo>
                    <a:cubicBezTo>
                      <a:pt x="5212" y="3746"/>
                      <a:pt x="4052" y="3743"/>
                      <a:pt x="3552" y="3743"/>
                    </a:cubicBezTo>
                    <a:cubicBezTo>
                      <a:pt x="3052" y="3743"/>
                      <a:pt x="3013" y="3746"/>
                      <a:pt x="2732" y="3749"/>
                    </a:cubicBezTo>
                    <a:cubicBezTo>
                      <a:pt x="2451" y="3752"/>
                      <a:pt x="2158" y="3764"/>
                      <a:pt x="1864" y="3759"/>
                    </a:cubicBezTo>
                    <a:cubicBezTo>
                      <a:pt x="1570" y="3753"/>
                      <a:pt x="1180" y="3733"/>
                      <a:pt x="970" y="3715"/>
                    </a:cubicBezTo>
                    <a:cubicBezTo>
                      <a:pt x="760" y="3698"/>
                      <a:pt x="677" y="3667"/>
                      <a:pt x="602" y="3655"/>
                    </a:cubicBezTo>
                    <a:cubicBezTo>
                      <a:pt x="527" y="3642"/>
                      <a:pt x="536" y="3651"/>
                      <a:pt x="518" y="3641"/>
                    </a:cubicBezTo>
                    <a:lnTo>
                      <a:pt x="496" y="3597"/>
                    </a:lnTo>
                    <a:lnTo>
                      <a:pt x="454" y="3579"/>
                    </a:lnTo>
                    <a:lnTo>
                      <a:pt x="438" y="3573"/>
                    </a:lnTo>
                    <a:cubicBezTo>
                      <a:pt x="408" y="3548"/>
                      <a:pt x="327" y="3508"/>
                      <a:pt x="276" y="3425"/>
                    </a:cubicBezTo>
                    <a:cubicBezTo>
                      <a:pt x="225" y="3341"/>
                      <a:pt x="168" y="3207"/>
                      <a:pt x="130" y="3072"/>
                    </a:cubicBezTo>
                    <a:cubicBezTo>
                      <a:pt x="92" y="2936"/>
                      <a:pt x="68" y="2806"/>
                      <a:pt x="46" y="2612"/>
                    </a:cubicBezTo>
                    <a:cubicBezTo>
                      <a:pt x="24" y="2419"/>
                      <a:pt x="0" y="2153"/>
                      <a:pt x="0" y="1913"/>
                    </a:cubicBezTo>
                    <a:cubicBezTo>
                      <a:pt x="0" y="1672"/>
                      <a:pt x="22" y="1368"/>
                      <a:pt x="45" y="1168"/>
                    </a:cubicBezTo>
                    <a:cubicBezTo>
                      <a:pt x="68" y="968"/>
                      <a:pt x="98" y="849"/>
                      <a:pt x="136" y="713"/>
                    </a:cubicBezTo>
                    <a:cubicBezTo>
                      <a:pt x="174" y="576"/>
                      <a:pt x="225" y="435"/>
                      <a:pt x="276" y="351"/>
                    </a:cubicBezTo>
                    <a:cubicBezTo>
                      <a:pt x="327" y="266"/>
                      <a:pt x="444" y="208"/>
                      <a:pt x="444" y="208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4" name="Freeform 29"/>
              <p:cNvSpPr>
                <a:spLocks noChangeAspect="1"/>
              </p:cNvSpPr>
              <p:nvPr/>
            </p:nvSpPr>
            <p:spPr bwMode="auto">
              <a:xfrm>
                <a:off x="5552" y="1492"/>
                <a:ext cx="108" cy="895"/>
              </a:xfrm>
              <a:custGeom>
                <a:avLst/>
                <a:gdLst>
                  <a:gd name="T0" fmla="*/ 4913 w 93"/>
                  <a:gd name="T1" fmla="*/ 13861 h 768"/>
                  <a:gd name="T2" fmla="*/ 27626 w 93"/>
                  <a:gd name="T3" fmla="*/ 173375 h 768"/>
                  <a:gd name="T4" fmla="*/ 40773 w 93"/>
                  <a:gd name="T5" fmla="*/ 434267 h 768"/>
                  <a:gd name="T6" fmla="*/ 25451 w 93"/>
                  <a:gd name="T7" fmla="*/ 697175 h 768"/>
                  <a:gd name="T8" fmla="*/ 0 w 93"/>
                  <a:gd name="T9" fmla="*/ 863517 h 768"/>
                  <a:gd name="T10" fmla="*/ 5705 w 93"/>
                  <a:gd name="T11" fmla="*/ 868063 h 768"/>
                  <a:gd name="T12" fmla="*/ 31190 w 93"/>
                  <a:gd name="T13" fmla="*/ 869355 h 768"/>
                  <a:gd name="T14" fmla="*/ 60731 w 93"/>
                  <a:gd name="T15" fmla="*/ 829336 h 768"/>
                  <a:gd name="T16" fmla="*/ 63855 w 93"/>
                  <a:gd name="T17" fmla="*/ 818007 h 768"/>
                  <a:gd name="T18" fmla="*/ 83691 w 93"/>
                  <a:gd name="T19" fmla="*/ 652396 h 768"/>
                  <a:gd name="T20" fmla="*/ 89275 w 93"/>
                  <a:gd name="T21" fmla="*/ 436967 h 768"/>
                  <a:gd name="T22" fmla="*/ 81901 w 93"/>
                  <a:gd name="T23" fmla="*/ 212427 h 768"/>
                  <a:gd name="T24" fmla="*/ 61733 w 93"/>
                  <a:gd name="T25" fmla="*/ 34720 h 768"/>
                  <a:gd name="T26" fmla="*/ 53159 w 93"/>
                  <a:gd name="T27" fmla="*/ 25738 h 768"/>
                  <a:gd name="T28" fmla="*/ 26991 w 93"/>
                  <a:gd name="T29" fmla="*/ 3 h 768"/>
                  <a:gd name="T30" fmla="*/ 10376 w 93"/>
                  <a:gd name="T31" fmla="*/ 7515 h 768"/>
                  <a:gd name="T32" fmla="*/ 4913 w 93"/>
                  <a:gd name="T33" fmla="*/ 13861 h 76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"/>
                  <a:gd name="T52" fmla="*/ 0 h 768"/>
                  <a:gd name="T53" fmla="*/ 93 w 93"/>
                  <a:gd name="T54" fmla="*/ 768 h 76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" h="768">
                    <a:moveTo>
                      <a:pt x="5" y="12"/>
                    </a:moveTo>
                    <a:cubicBezTo>
                      <a:pt x="8" y="36"/>
                      <a:pt x="23" y="91"/>
                      <a:pt x="29" y="153"/>
                    </a:cubicBezTo>
                    <a:cubicBezTo>
                      <a:pt x="35" y="215"/>
                      <a:pt x="43" y="305"/>
                      <a:pt x="42" y="381"/>
                    </a:cubicBezTo>
                    <a:cubicBezTo>
                      <a:pt x="41" y="457"/>
                      <a:pt x="33" y="548"/>
                      <a:pt x="26" y="611"/>
                    </a:cubicBezTo>
                    <a:cubicBezTo>
                      <a:pt x="19" y="674"/>
                      <a:pt x="3" y="732"/>
                      <a:pt x="0" y="757"/>
                    </a:cubicBezTo>
                    <a:lnTo>
                      <a:pt x="6" y="761"/>
                    </a:lnTo>
                    <a:cubicBezTo>
                      <a:pt x="11" y="762"/>
                      <a:pt x="22" y="768"/>
                      <a:pt x="32" y="762"/>
                    </a:cubicBezTo>
                    <a:cubicBezTo>
                      <a:pt x="41" y="757"/>
                      <a:pt x="56" y="735"/>
                      <a:pt x="62" y="728"/>
                    </a:cubicBezTo>
                    <a:lnTo>
                      <a:pt x="66" y="717"/>
                    </a:lnTo>
                    <a:cubicBezTo>
                      <a:pt x="70" y="691"/>
                      <a:pt x="82" y="628"/>
                      <a:pt x="86" y="572"/>
                    </a:cubicBezTo>
                    <a:cubicBezTo>
                      <a:pt x="90" y="516"/>
                      <a:pt x="93" y="447"/>
                      <a:pt x="93" y="383"/>
                    </a:cubicBezTo>
                    <a:cubicBezTo>
                      <a:pt x="93" y="319"/>
                      <a:pt x="89" y="245"/>
                      <a:pt x="84" y="186"/>
                    </a:cubicBezTo>
                    <a:cubicBezTo>
                      <a:pt x="79" y="127"/>
                      <a:pt x="68" y="57"/>
                      <a:pt x="63" y="30"/>
                    </a:cubicBezTo>
                    <a:lnTo>
                      <a:pt x="54" y="23"/>
                    </a:lnTo>
                    <a:cubicBezTo>
                      <a:pt x="48" y="19"/>
                      <a:pt x="35" y="6"/>
                      <a:pt x="28" y="3"/>
                    </a:cubicBezTo>
                    <a:cubicBezTo>
                      <a:pt x="21" y="0"/>
                      <a:pt x="14" y="6"/>
                      <a:pt x="10" y="7"/>
                    </a:cubicBezTo>
                    <a:lnTo>
                      <a:pt x="5" y="12"/>
                    </a:ln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5" name="Freeform 30"/>
              <p:cNvSpPr>
                <a:spLocks noChangeAspect="1"/>
              </p:cNvSpPr>
              <p:nvPr/>
            </p:nvSpPr>
            <p:spPr bwMode="auto">
              <a:xfrm>
                <a:off x="223" y="1141"/>
                <a:ext cx="385" cy="1602"/>
              </a:xfrm>
              <a:custGeom>
                <a:avLst/>
                <a:gdLst>
                  <a:gd name="T0" fmla="*/ 1 w 647"/>
                  <a:gd name="T1" fmla="*/ 1 h 2749"/>
                  <a:gd name="T2" fmla="*/ 1 w 647"/>
                  <a:gd name="T3" fmla="*/ 1 h 2749"/>
                  <a:gd name="T4" fmla="*/ 1 w 647"/>
                  <a:gd name="T5" fmla="*/ 1 h 2749"/>
                  <a:gd name="T6" fmla="*/ 1 w 647"/>
                  <a:gd name="T7" fmla="*/ 1 h 2749"/>
                  <a:gd name="T8" fmla="*/ 1 w 647"/>
                  <a:gd name="T9" fmla="*/ 1 h 2749"/>
                  <a:gd name="T10" fmla="*/ 1 w 647"/>
                  <a:gd name="T11" fmla="*/ 1 h 2749"/>
                  <a:gd name="T12" fmla="*/ 0 w 647"/>
                  <a:gd name="T13" fmla="*/ 1 h 2749"/>
                  <a:gd name="T14" fmla="*/ 1 w 647"/>
                  <a:gd name="T15" fmla="*/ 1 h 2749"/>
                  <a:gd name="T16" fmla="*/ 1 w 647"/>
                  <a:gd name="T17" fmla="*/ 1 h 2749"/>
                  <a:gd name="T18" fmla="*/ 1 w 647"/>
                  <a:gd name="T19" fmla="*/ 1 h 2749"/>
                  <a:gd name="T20" fmla="*/ 1 w 647"/>
                  <a:gd name="T21" fmla="*/ 1 h 2749"/>
                  <a:gd name="T22" fmla="*/ 1 w 647"/>
                  <a:gd name="T23" fmla="*/ 1 h 2749"/>
                  <a:gd name="T24" fmla="*/ 1 w 647"/>
                  <a:gd name="T25" fmla="*/ 1 h 27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47"/>
                  <a:gd name="T40" fmla="*/ 0 h 2749"/>
                  <a:gd name="T41" fmla="*/ 647 w 647"/>
                  <a:gd name="T42" fmla="*/ 2749 h 274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47" h="2749">
                    <a:moveTo>
                      <a:pt x="628" y="2635"/>
                    </a:moveTo>
                    <a:cubicBezTo>
                      <a:pt x="624" y="2645"/>
                      <a:pt x="645" y="2678"/>
                      <a:pt x="604" y="2695"/>
                    </a:cubicBezTo>
                    <a:cubicBezTo>
                      <a:pt x="563" y="2712"/>
                      <a:pt x="443" y="2749"/>
                      <a:pt x="382" y="2738"/>
                    </a:cubicBezTo>
                    <a:cubicBezTo>
                      <a:pt x="321" y="2727"/>
                      <a:pt x="287" y="2697"/>
                      <a:pt x="240" y="2627"/>
                    </a:cubicBezTo>
                    <a:cubicBezTo>
                      <a:pt x="193" y="2557"/>
                      <a:pt x="134" y="2430"/>
                      <a:pt x="100" y="2319"/>
                    </a:cubicBezTo>
                    <a:cubicBezTo>
                      <a:pt x="66" y="2208"/>
                      <a:pt x="53" y="2119"/>
                      <a:pt x="36" y="1959"/>
                    </a:cubicBezTo>
                    <a:cubicBezTo>
                      <a:pt x="19" y="1799"/>
                      <a:pt x="0" y="1553"/>
                      <a:pt x="0" y="1359"/>
                    </a:cubicBezTo>
                    <a:cubicBezTo>
                      <a:pt x="0" y="1165"/>
                      <a:pt x="19" y="944"/>
                      <a:pt x="37" y="792"/>
                    </a:cubicBezTo>
                    <a:cubicBezTo>
                      <a:pt x="55" y="640"/>
                      <a:pt x="77" y="560"/>
                      <a:pt x="111" y="449"/>
                    </a:cubicBezTo>
                    <a:cubicBezTo>
                      <a:pt x="145" y="338"/>
                      <a:pt x="198" y="198"/>
                      <a:pt x="240" y="125"/>
                    </a:cubicBezTo>
                    <a:cubicBezTo>
                      <a:pt x="282" y="52"/>
                      <a:pt x="303" y="22"/>
                      <a:pt x="363" y="11"/>
                    </a:cubicBezTo>
                    <a:cubicBezTo>
                      <a:pt x="423" y="0"/>
                      <a:pt x="559" y="43"/>
                      <a:pt x="603" y="59"/>
                    </a:cubicBezTo>
                    <a:cubicBezTo>
                      <a:pt x="647" y="75"/>
                      <a:pt x="621" y="102"/>
                      <a:pt x="625" y="110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6" name="Freeform 31"/>
              <p:cNvSpPr>
                <a:spLocks noChangeAspect="1"/>
              </p:cNvSpPr>
              <p:nvPr/>
            </p:nvSpPr>
            <p:spPr bwMode="auto">
              <a:xfrm>
                <a:off x="448" y="1155"/>
                <a:ext cx="311" cy="1565"/>
              </a:xfrm>
              <a:custGeom>
                <a:avLst/>
                <a:gdLst>
                  <a:gd name="T0" fmla="*/ 1 w 523"/>
                  <a:gd name="T1" fmla="*/ 1 h 2682"/>
                  <a:gd name="T2" fmla="*/ 1 w 523"/>
                  <a:gd name="T3" fmla="*/ 1 h 2682"/>
                  <a:gd name="T4" fmla="*/ 1 w 523"/>
                  <a:gd name="T5" fmla="*/ 1 h 2682"/>
                  <a:gd name="T6" fmla="*/ 1 w 523"/>
                  <a:gd name="T7" fmla="*/ 1 h 2682"/>
                  <a:gd name="T8" fmla="*/ 1 w 523"/>
                  <a:gd name="T9" fmla="*/ 1 h 2682"/>
                  <a:gd name="T10" fmla="*/ 1 w 523"/>
                  <a:gd name="T11" fmla="*/ 1 h 2682"/>
                  <a:gd name="T12" fmla="*/ 1 w 523"/>
                  <a:gd name="T13" fmla="*/ 1 h 268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3"/>
                  <a:gd name="T22" fmla="*/ 0 h 2682"/>
                  <a:gd name="T23" fmla="*/ 523 w 523"/>
                  <a:gd name="T24" fmla="*/ 2682 h 268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3" h="2682">
                    <a:moveTo>
                      <a:pt x="523" y="2682"/>
                    </a:moveTo>
                    <a:cubicBezTo>
                      <a:pt x="469" y="2662"/>
                      <a:pt x="279" y="2669"/>
                      <a:pt x="197" y="2559"/>
                    </a:cubicBezTo>
                    <a:cubicBezTo>
                      <a:pt x="115" y="2449"/>
                      <a:pt x="66" y="2226"/>
                      <a:pt x="33" y="2023"/>
                    </a:cubicBezTo>
                    <a:cubicBezTo>
                      <a:pt x="0" y="1820"/>
                      <a:pt x="0" y="1567"/>
                      <a:pt x="1" y="1339"/>
                    </a:cubicBezTo>
                    <a:cubicBezTo>
                      <a:pt x="2" y="1111"/>
                      <a:pt x="4" y="860"/>
                      <a:pt x="41" y="655"/>
                    </a:cubicBezTo>
                    <a:cubicBezTo>
                      <a:pt x="78" y="450"/>
                      <a:pt x="145" y="214"/>
                      <a:pt x="225" y="107"/>
                    </a:cubicBezTo>
                    <a:cubicBezTo>
                      <a:pt x="305" y="0"/>
                      <a:pt x="461" y="32"/>
                      <a:pt x="523" y="12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7" name="Freeform 32"/>
              <p:cNvSpPr>
                <a:spLocks noChangeAspect="1"/>
              </p:cNvSpPr>
              <p:nvPr/>
            </p:nvSpPr>
            <p:spPr bwMode="auto">
              <a:xfrm>
                <a:off x="434" y="1007"/>
                <a:ext cx="332" cy="1861"/>
              </a:xfrm>
              <a:custGeom>
                <a:avLst/>
                <a:gdLst>
                  <a:gd name="T0" fmla="*/ 0 w 558"/>
                  <a:gd name="T1" fmla="*/ 1 h 3174"/>
                  <a:gd name="T2" fmla="*/ 1 w 558"/>
                  <a:gd name="T3" fmla="*/ 1 h 3174"/>
                  <a:gd name="T4" fmla="*/ 1 w 558"/>
                  <a:gd name="T5" fmla="*/ 1 h 3174"/>
                  <a:gd name="T6" fmla="*/ 1 w 558"/>
                  <a:gd name="T7" fmla="*/ 1 h 3174"/>
                  <a:gd name="T8" fmla="*/ 1 w 558"/>
                  <a:gd name="T9" fmla="*/ 1 h 3174"/>
                  <a:gd name="T10" fmla="*/ 1 w 558"/>
                  <a:gd name="T11" fmla="*/ 1 h 3174"/>
                  <a:gd name="T12" fmla="*/ 1 w 558"/>
                  <a:gd name="T13" fmla="*/ 1 h 3174"/>
                  <a:gd name="T14" fmla="*/ 1 w 558"/>
                  <a:gd name="T15" fmla="*/ 1 h 3174"/>
                  <a:gd name="T16" fmla="*/ 1 w 558"/>
                  <a:gd name="T17" fmla="*/ 1 h 3174"/>
                  <a:gd name="T18" fmla="*/ 1 w 558"/>
                  <a:gd name="T19" fmla="*/ 1 h 3174"/>
                  <a:gd name="T20" fmla="*/ 1 w 558"/>
                  <a:gd name="T21" fmla="*/ 1 h 3174"/>
                  <a:gd name="T22" fmla="*/ 1 w 558"/>
                  <a:gd name="T23" fmla="*/ 1 h 3174"/>
                  <a:gd name="T24" fmla="*/ 1 w 558"/>
                  <a:gd name="T25" fmla="*/ 1 h 3174"/>
                  <a:gd name="T26" fmla="*/ 1 w 558"/>
                  <a:gd name="T27" fmla="*/ 1 h 3174"/>
                  <a:gd name="T28" fmla="*/ 1 w 558"/>
                  <a:gd name="T29" fmla="*/ 0 h 317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58"/>
                  <a:gd name="T46" fmla="*/ 0 h 3174"/>
                  <a:gd name="T47" fmla="*/ 558 w 558"/>
                  <a:gd name="T48" fmla="*/ 3174 h 317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58" h="3174">
                    <a:moveTo>
                      <a:pt x="0" y="3174"/>
                    </a:moveTo>
                    <a:cubicBezTo>
                      <a:pt x="16" y="3160"/>
                      <a:pt x="41" y="3114"/>
                      <a:pt x="95" y="3090"/>
                    </a:cubicBezTo>
                    <a:cubicBezTo>
                      <a:pt x="149" y="3066"/>
                      <a:pt x="254" y="3050"/>
                      <a:pt x="326" y="3027"/>
                    </a:cubicBezTo>
                    <a:cubicBezTo>
                      <a:pt x="398" y="3004"/>
                      <a:pt x="491" y="2965"/>
                      <a:pt x="528" y="2949"/>
                    </a:cubicBezTo>
                    <a:lnTo>
                      <a:pt x="546" y="2932"/>
                    </a:lnTo>
                    <a:lnTo>
                      <a:pt x="555" y="2910"/>
                    </a:lnTo>
                    <a:cubicBezTo>
                      <a:pt x="552" y="2814"/>
                      <a:pt x="534" y="2575"/>
                      <a:pt x="525" y="2355"/>
                    </a:cubicBezTo>
                    <a:cubicBezTo>
                      <a:pt x="516" y="2135"/>
                      <a:pt x="505" y="1834"/>
                      <a:pt x="503" y="1591"/>
                    </a:cubicBezTo>
                    <a:cubicBezTo>
                      <a:pt x="501" y="1348"/>
                      <a:pt x="506" y="1114"/>
                      <a:pt x="515" y="897"/>
                    </a:cubicBezTo>
                    <a:cubicBezTo>
                      <a:pt x="524" y="680"/>
                      <a:pt x="552" y="394"/>
                      <a:pt x="558" y="289"/>
                    </a:cubicBezTo>
                    <a:lnTo>
                      <a:pt x="552" y="264"/>
                    </a:lnTo>
                    <a:lnTo>
                      <a:pt x="530" y="244"/>
                    </a:lnTo>
                    <a:cubicBezTo>
                      <a:pt x="494" y="227"/>
                      <a:pt x="411" y="188"/>
                      <a:pt x="338" y="162"/>
                    </a:cubicBezTo>
                    <a:cubicBezTo>
                      <a:pt x="265" y="136"/>
                      <a:pt x="149" y="113"/>
                      <a:pt x="93" y="86"/>
                    </a:cubicBezTo>
                    <a:cubicBezTo>
                      <a:pt x="37" y="59"/>
                      <a:pt x="21" y="18"/>
                      <a:pt x="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8" name="Freeform 33"/>
              <p:cNvSpPr>
                <a:spLocks noChangeAspect="1"/>
              </p:cNvSpPr>
              <p:nvPr/>
            </p:nvSpPr>
            <p:spPr bwMode="auto">
              <a:xfrm>
                <a:off x="5580" y="1493"/>
                <a:ext cx="51" cy="886"/>
              </a:xfrm>
              <a:custGeom>
                <a:avLst/>
                <a:gdLst>
                  <a:gd name="T0" fmla="*/ 2 w 44"/>
                  <a:gd name="T1" fmla="*/ 0 h 760"/>
                  <a:gd name="T2" fmla="*/ 24590 w 44"/>
                  <a:gd name="T3" fmla="*/ 155606 h 760"/>
                  <a:gd name="T4" fmla="*/ 39599 w 44"/>
                  <a:gd name="T5" fmla="*/ 423887 h 760"/>
                  <a:gd name="T6" fmla="*/ 27766 w 44"/>
                  <a:gd name="T7" fmla="*/ 670795 h 760"/>
                  <a:gd name="T8" fmla="*/ 0 w 44"/>
                  <a:gd name="T9" fmla="*/ 881816 h 7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4"/>
                  <a:gd name="T16" fmla="*/ 0 h 760"/>
                  <a:gd name="T17" fmla="*/ 44 w 44"/>
                  <a:gd name="T18" fmla="*/ 760 h 7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4" h="760">
                    <a:moveTo>
                      <a:pt x="2" y="0"/>
                    </a:moveTo>
                    <a:cubicBezTo>
                      <a:pt x="6" y="22"/>
                      <a:pt x="21" y="74"/>
                      <a:pt x="28" y="135"/>
                    </a:cubicBezTo>
                    <a:cubicBezTo>
                      <a:pt x="35" y="196"/>
                      <a:pt x="44" y="291"/>
                      <a:pt x="44" y="365"/>
                    </a:cubicBezTo>
                    <a:cubicBezTo>
                      <a:pt x="44" y="439"/>
                      <a:pt x="37" y="512"/>
                      <a:pt x="30" y="578"/>
                    </a:cubicBezTo>
                    <a:cubicBezTo>
                      <a:pt x="23" y="644"/>
                      <a:pt x="6" y="722"/>
                      <a:pt x="0" y="76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39" name="Freeform 34"/>
              <p:cNvSpPr>
                <a:spLocks noChangeAspect="1"/>
              </p:cNvSpPr>
              <p:nvPr/>
            </p:nvSpPr>
            <p:spPr bwMode="auto">
              <a:xfrm>
                <a:off x="5603" y="1508"/>
                <a:ext cx="46" cy="857"/>
              </a:xfrm>
              <a:custGeom>
                <a:avLst/>
                <a:gdLst>
                  <a:gd name="T0" fmla="*/ 0 w 39"/>
                  <a:gd name="T1" fmla="*/ 0 h 735"/>
                  <a:gd name="T2" fmla="*/ 48143 w 39"/>
                  <a:gd name="T3" fmla="*/ 160952 h 735"/>
                  <a:gd name="T4" fmla="*/ 76892 w 39"/>
                  <a:gd name="T5" fmla="*/ 414481 h 735"/>
                  <a:gd name="T6" fmla="*/ 55271 w 39"/>
                  <a:gd name="T7" fmla="*/ 663207 h 735"/>
                  <a:gd name="T8" fmla="*/ 1 w 39"/>
                  <a:gd name="T9" fmla="*/ 858657 h 7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735"/>
                  <a:gd name="T17" fmla="*/ 39 w 39"/>
                  <a:gd name="T18" fmla="*/ 735 h 7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735">
                    <a:moveTo>
                      <a:pt x="0" y="0"/>
                    </a:moveTo>
                    <a:cubicBezTo>
                      <a:pt x="4" y="23"/>
                      <a:pt x="19" y="79"/>
                      <a:pt x="25" y="138"/>
                    </a:cubicBezTo>
                    <a:cubicBezTo>
                      <a:pt x="31" y="197"/>
                      <a:pt x="39" y="283"/>
                      <a:pt x="39" y="354"/>
                    </a:cubicBezTo>
                    <a:cubicBezTo>
                      <a:pt x="39" y="425"/>
                      <a:pt x="34" y="504"/>
                      <a:pt x="28" y="567"/>
                    </a:cubicBezTo>
                    <a:cubicBezTo>
                      <a:pt x="22" y="630"/>
                      <a:pt x="7" y="700"/>
                      <a:pt x="1" y="73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0" name="Freeform 35"/>
              <p:cNvSpPr>
                <a:spLocks noChangeAspect="1"/>
              </p:cNvSpPr>
              <p:nvPr/>
            </p:nvSpPr>
            <p:spPr bwMode="auto">
              <a:xfrm>
                <a:off x="3395" y="999"/>
                <a:ext cx="1116" cy="1884"/>
              </a:xfrm>
              <a:custGeom>
                <a:avLst/>
                <a:gdLst>
                  <a:gd name="T0" fmla="*/ 1 w 1875"/>
                  <a:gd name="T1" fmla="*/ 1 h 3187"/>
                  <a:gd name="T2" fmla="*/ 1 w 1875"/>
                  <a:gd name="T3" fmla="*/ 1 h 3187"/>
                  <a:gd name="T4" fmla="*/ 1 w 1875"/>
                  <a:gd name="T5" fmla="*/ 1 h 3187"/>
                  <a:gd name="T6" fmla="*/ 1 w 1875"/>
                  <a:gd name="T7" fmla="*/ 1 h 3187"/>
                  <a:gd name="T8" fmla="*/ 1 w 1875"/>
                  <a:gd name="T9" fmla="*/ 1 h 3187"/>
                  <a:gd name="T10" fmla="*/ 1 w 1875"/>
                  <a:gd name="T11" fmla="*/ 1 h 3187"/>
                  <a:gd name="T12" fmla="*/ 1 w 1875"/>
                  <a:gd name="T13" fmla="*/ 1 h 3187"/>
                  <a:gd name="T14" fmla="*/ 1 w 1875"/>
                  <a:gd name="T15" fmla="*/ 1 h 3187"/>
                  <a:gd name="T16" fmla="*/ 1 w 1875"/>
                  <a:gd name="T17" fmla="*/ 1 h 3187"/>
                  <a:gd name="T18" fmla="*/ 1 w 1875"/>
                  <a:gd name="T19" fmla="*/ 1 h 3187"/>
                  <a:gd name="T20" fmla="*/ 1 w 1875"/>
                  <a:gd name="T21" fmla="*/ 1 h 3187"/>
                  <a:gd name="T22" fmla="*/ 1 w 1875"/>
                  <a:gd name="T23" fmla="*/ 1 h 3187"/>
                  <a:gd name="T24" fmla="*/ 1 w 1875"/>
                  <a:gd name="T25" fmla="*/ 1 h 3187"/>
                  <a:gd name="T26" fmla="*/ 1 w 1875"/>
                  <a:gd name="T27" fmla="*/ 1 h 3187"/>
                  <a:gd name="T28" fmla="*/ 1 w 1875"/>
                  <a:gd name="T29" fmla="*/ 1 h 3187"/>
                  <a:gd name="T30" fmla="*/ 1 w 1875"/>
                  <a:gd name="T31" fmla="*/ 1 h 3187"/>
                  <a:gd name="T32" fmla="*/ 1 w 1875"/>
                  <a:gd name="T33" fmla="*/ 1 h 3187"/>
                  <a:gd name="T34" fmla="*/ 1 w 1875"/>
                  <a:gd name="T35" fmla="*/ 1 h 3187"/>
                  <a:gd name="T36" fmla="*/ 1 w 1875"/>
                  <a:gd name="T37" fmla="*/ 1 h 3187"/>
                  <a:gd name="T38" fmla="*/ 1 w 1875"/>
                  <a:gd name="T39" fmla="*/ 1 h 3187"/>
                  <a:gd name="T40" fmla="*/ 1 w 1875"/>
                  <a:gd name="T41" fmla="*/ 1 h 3187"/>
                  <a:gd name="T42" fmla="*/ 1 w 1875"/>
                  <a:gd name="T43" fmla="*/ 1 h 3187"/>
                  <a:gd name="T44" fmla="*/ 1 w 1875"/>
                  <a:gd name="T45" fmla="*/ 1 h 3187"/>
                  <a:gd name="T46" fmla="*/ 1 w 1875"/>
                  <a:gd name="T47" fmla="*/ 1 h 3187"/>
                  <a:gd name="T48" fmla="*/ 1 w 1875"/>
                  <a:gd name="T49" fmla="*/ 1 h 31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875"/>
                  <a:gd name="T76" fmla="*/ 0 h 3187"/>
                  <a:gd name="T77" fmla="*/ 1875 w 1875"/>
                  <a:gd name="T78" fmla="*/ 3187 h 31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875" h="3187">
                    <a:moveTo>
                      <a:pt x="157" y="1535"/>
                    </a:moveTo>
                    <a:cubicBezTo>
                      <a:pt x="160" y="1666"/>
                      <a:pt x="147" y="1762"/>
                      <a:pt x="138" y="1887"/>
                    </a:cubicBezTo>
                    <a:cubicBezTo>
                      <a:pt x="129" y="2012"/>
                      <a:pt x="116" y="2177"/>
                      <a:pt x="104" y="2285"/>
                    </a:cubicBezTo>
                    <a:cubicBezTo>
                      <a:pt x="92" y="2393"/>
                      <a:pt x="81" y="2443"/>
                      <a:pt x="64" y="2538"/>
                    </a:cubicBezTo>
                    <a:cubicBezTo>
                      <a:pt x="47" y="2633"/>
                      <a:pt x="2" y="2779"/>
                      <a:pt x="1" y="2853"/>
                    </a:cubicBezTo>
                    <a:cubicBezTo>
                      <a:pt x="0" y="2927"/>
                      <a:pt x="25" y="2954"/>
                      <a:pt x="60" y="2985"/>
                    </a:cubicBezTo>
                    <a:cubicBezTo>
                      <a:pt x="95" y="3016"/>
                      <a:pt x="124" y="3020"/>
                      <a:pt x="214" y="3041"/>
                    </a:cubicBezTo>
                    <a:cubicBezTo>
                      <a:pt x="304" y="3062"/>
                      <a:pt x="430" y="3087"/>
                      <a:pt x="603" y="3110"/>
                    </a:cubicBezTo>
                    <a:cubicBezTo>
                      <a:pt x="776" y="3133"/>
                      <a:pt x="1093" y="3187"/>
                      <a:pt x="1251" y="3180"/>
                    </a:cubicBezTo>
                    <a:cubicBezTo>
                      <a:pt x="1409" y="3173"/>
                      <a:pt x="1474" y="3147"/>
                      <a:pt x="1551" y="3066"/>
                    </a:cubicBezTo>
                    <a:cubicBezTo>
                      <a:pt x="1628" y="2985"/>
                      <a:pt x="1667" y="2847"/>
                      <a:pt x="1714" y="2693"/>
                    </a:cubicBezTo>
                    <a:cubicBezTo>
                      <a:pt x="1761" y="2539"/>
                      <a:pt x="1803" y="2329"/>
                      <a:pt x="1830" y="2144"/>
                    </a:cubicBezTo>
                    <a:cubicBezTo>
                      <a:pt x="1857" y="1959"/>
                      <a:pt x="1875" y="1772"/>
                      <a:pt x="1875" y="1580"/>
                    </a:cubicBezTo>
                    <a:cubicBezTo>
                      <a:pt x="1875" y="1388"/>
                      <a:pt x="1855" y="1165"/>
                      <a:pt x="1832" y="994"/>
                    </a:cubicBezTo>
                    <a:cubicBezTo>
                      <a:pt x="1809" y="823"/>
                      <a:pt x="1778" y="694"/>
                      <a:pt x="1736" y="553"/>
                    </a:cubicBezTo>
                    <a:cubicBezTo>
                      <a:pt x="1694" y="412"/>
                      <a:pt x="1653" y="236"/>
                      <a:pt x="1578" y="146"/>
                    </a:cubicBezTo>
                    <a:cubicBezTo>
                      <a:pt x="1503" y="56"/>
                      <a:pt x="1444" y="22"/>
                      <a:pt x="1284" y="11"/>
                    </a:cubicBezTo>
                    <a:cubicBezTo>
                      <a:pt x="1124" y="0"/>
                      <a:pt x="799" y="56"/>
                      <a:pt x="615" y="81"/>
                    </a:cubicBezTo>
                    <a:cubicBezTo>
                      <a:pt x="431" y="106"/>
                      <a:pt x="274" y="134"/>
                      <a:pt x="180" y="159"/>
                    </a:cubicBezTo>
                    <a:cubicBezTo>
                      <a:pt x="86" y="184"/>
                      <a:pt x="76" y="199"/>
                      <a:pt x="49" y="230"/>
                    </a:cubicBezTo>
                    <a:cubicBezTo>
                      <a:pt x="22" y="261"/>
                      <a:pt x="14" y="289"/>
                      <a:pt x="15" y="344"/>
                    </a:cubicBezTo>
                    <a:cubicBezTo>
                      <a:pt x="16" y="399"/>
                      <a:pt x="38" y="474"/>
                      <a:pt x="54" y="560"/>
                    </a:cubicBezTo>
                    <a:cubicBezTo>
                      <a:pt x="70" y="646"/>
                      <a:pt x="93" y="751"/>
                      <a:pt x="108" y="858"/>
                    </a:cubicBezTo>
                    <a:cubicBezTo>
                      <a:pt x="123" y="965"/>
                      <a:pt x="133" y="1092"/>
                      <a:pt x="141" y="1205"/>
                    </a:cubicBezTo>
                    <a:cubicBezTo>
                      <a:pt x="149" y="1318"/>
                      <a:pt x="154" y="1466"/>
                      <a:pt x="157" y="153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1" name="Freeform 36"/>
              <p:cNvSpPr>
                <a:spLocks noChangeAspect="1"/>
              </p:cNvSpPr>
              <p:nvPr/>
            </p:nvSpPr>
            <p:spPr bwMode="auto">
              <a:xfrm>
                <a:off x="204" y="1260"/>
                <a:ext cx="79" cy="1358"/>
              </a:xfrm>
              <a:custGeom>
                <a:avLst/>
                <a:gdLst>
                  <a:gd name="T0" fmla="*/ 1 w 132"/>
                  <a:gd name="T1" fmla="*/ 1 h 2324"/>
                  <a:gd name="T2" fmla="*/ 1 w 132"/>
                  <a:gd name="T3" fmla="*/ 1 h 2324"/>
                  <a:gd name="T4" fmla="*/ 0 w 132"/>
                  <a:gd name="T5" fmla="*/ 1 h 2324"/>
                  <a:gd name="T6" fmla="*/ 1 w 132"/>
                  <a:gd name="T7" fmla="*/ 1 h 2324"/>
                  <a:gd name="T8" fmla="*/ 1 w 132"/>
                  <a:gd name="T9" fmla="*/ 0 h 2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2"/>
                  <a:gd name="T16" fmla="*/ 0 h 2324"/>
                  <a:gd name="T17" fmla="*/ 132 w 132"/>
                  <a:gd name="T18" fmla="*/ 2324 h 23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2" h="2324">
                    <a:moveTo>
                      <a:pt x="132" y="2324"/>
                    </a:moveTo>
                    <a:cubicBezTo>
                      <a:pt x="115" y="2233"/>
                      <a:pt x="54" y="1968"/>
                      <a:pt x="32" y="1776"/>
                    </a:cubicBezTo>
                    <a:cubicBezTo>
                      <a:pt x="10" y="1584"/>
                      <a:pt x="0" y="1381"/>
                      <a:pt x="0" y="1172"/>
                    </a:cubicBezTo>
                    <a:cubicBezTo>
                      <a:pt x="0" y="963"/>
                      <a:pt x="10" y="719"/>
                      <a:pt x="32" y="524"/>
                    </a:cubicBezTo>
                    <a:cubicBezTo>
                      <a:pt x="54" y="329"/>
                      <a:pt x="111" y="109"/>
                      <a:pt x="13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2" name="Freeform 37"/>
              <p:cNvSpPr>
                <a:spLocks noChangeAspect="1"/>
              </p:cNvSpPr>
              <p:nvPr/>
            </p:nvSpPr>
            <p:spPr bwMode="auto">
              <a:xfrm>
                <a:off x="454" y="1687"/>
                <a:ext cx="48" cy="502"/>
              </a:xfrm>
              <a:custGeom>
                <a:avLst/>
                <a:gdLst>
                  <a:gd name="T0" fmla="*/ 0 w 80"/>
                  <a:gd name="T1" fmla="*/ 1 h 876"/>
                  <a:gd name="T2" fmla="*/ 1 w 80"/>
                  <a:gd name="T3" fmla="*/ 1 h 876"/>
                  <a:gd name="T4" fmla="*/ 1 w 80"/>
                  <a:gd name="T5" fmla="*/ 1 h 876"/>
                  <a:gd name="T6" fmla="*/ 1 w 80"/>
                  <a:gd name="T7" fmla="*/ 0 h 87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0"/>
                  <a:gd name="T13" fmla="*/ 0 h 876"/>
                  <a:gd name="T14" fmla="*/ 80 w 80"/>
                  <a:gd name="T15" fmla="*/ 876 h 87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0" h="876">
                    <a:moveTo>
                      <a:pt x="0" y="876"/>
                    </a:moveTo>
                    <a:lnTo>
                      <a:pt x="76" y="854"/>
                    </a:lnTo>
                    <a:lnTo>
                      <a:pt x="80" y="22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3" name="Freeform 38"/>
              <p:cNvSpPr>
                <a:spLocks noChangeAspect="1"/>
              </p:cNvSpPr>
              <p:nvPr/>
            </p:nvSpPr>
            <p:spPr bwMode="auto">
              <a:xfrm>
                <a:off x="756" y="240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4" name="Freeform 39"/>
              <p:cNvSpPr>
                <a:spLocks noChangeAspect="1"/>
              </p:cNvSpPr>
              <p:nvPr/>
            </p:nvSpPr>
            <p:spPr bwMode="auto">
              <a:xfrm>
                <a:off x="4411" y="2377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5" name="Freeform 40"/>
              <p:cNvSpPr>
                <a:spLocks noChangeAspect="1"/>
              </p:cNvSpPr>
              <p:nvPr/>
            </p:nvSpPr>
            <p:spPr bwMode="auto">
              <a:xfrm>
                <a:off x="4229" y="2868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6" name="Freeform 41"/>
              <p:cNvSpPr>
                <a:spLocks noChangeAspect="1"/>
              </p:cNvSpPr>
              <p:nvPr/>
            </p:nvSpPr>
            <p:spPr bwMode="auto">
              <a:xfrm>
                <a:off x="5001" y="2523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7" name="Freeform 42"/>
              <p:cNvSpPr>
                <a:spLocks noChangeAspect="1"/>
              </p:cNvSpPr>
              <p:nvPr/>
            </p:nvSpPr>
            <p:spPr bwMode="auto">
              <a:xfrm>
                <a:off x="4973" y="2379"/>
                <a:ext cx="617" cy="657"/>
              </a:xfrm>
              <a:custGeom>
                <a:avLst/>
                <a:gdLst>
                  <a:gd name="T0" fmla="*/ 1 w 1038"/>
                  <a:gd name="T1" fmla="*/ 0 h 1102"/>
                  <a:gd name="T2" fmla="*/ 1 w 1038"/>
                  <a:gd name="T3" fmla="*/ 1 h 1102"/>
                  <a:gd name="T4" fmla="*/ 1 w 1038"/>
                  <a:gd name="T5" fmla="*/ 1 h 1102"/>
                  <a:gd name="T6" fmla="*/ 1 w 1038"/>
                  <a:gd name="T7" fmla="*/ 1 h 1102"/>
                  <a:gd name="T8" fmla="*/ 1 w 1038"/>
                  <a:gd name="T9" fmla="*/ 1 h 1102"/>
                  <a:gd name="T10" fmla="*/ 0 w 1038"/>
                  <a:gd name="T11" fmla="*/ 1 h 110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8"/>
                  <a:gd name="T19" fmla="*/ 0 h 1102"/>
                  <a:gd name="T20" fmla="*/ 1038 w 1038"/>
                  <a:gd name="T21" fmla="*/ 1102 h 110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8" h="1102">
                    <a:moveTo>
                      <a:pt x="1038" y="0"/>
                    </a:moveTo>
                    <a:cubicBezTo>
                      <a:pt x="1020" y="60"/>
                      <a:pt x="978" y="245"/>
                      <a:pt x="931" y="360"/>
                    </a:cubicBezTo>
                    <a:cubicBezTo>
                      <a:pt x="884" y="475"/>
                      <a:pt x="813" y="604"/>
                      <a:pt x="754" y="690"/>
                    </a:cubicBezTo>
                    <a:cubicBezTo>
                      <a:pt x="695" y="776"/>
                      <a:pt x="650" y="822"/>
                      <a:pt x="577" y="876"/>
                    </a:cubicBezTo>
                    <a:cubicBezTo>
                      <a:pt x="504" y="930"/>
                      <a:pt x="412" y="979"/>
                      <a:pt x="316" y="1017"/>
                    </a:cubicBezTo>
                    <a:cubicBezTo>
                      <a:pt x="220" y="1055"/>
                      <a:pt x="66" y="1084"/>
                      <a:pt x="0" y="110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8" name="Freeform 43"/>
              <p:cNvSpPr>
                <a:spLocks noChangeAspect="1"/>
              </p:cNvSpPr>
              <p:nvPr/>
            </p:nvSpPr>
            <p:spPr bwMode="auto">
              <a:xfrm>
                <a:off x="5028" y="252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49" name="Freeform 44"/>
              <p:cNvSpPr>
                <a:spLocks noChangeAspect="1"/>
              </p:cNvSpPr>
              <p:nvPr/>
            </p:nvSpPr>
            <p:spPr bwMode="auto">
              <a:xfrm>
                <a:off x="3863" y="2477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0" name="Freeform 45"/>
              <p:cNvSpPr>
                <a:spLocks noChangeAspect="1"/>
              </p:cNvSpPr>
              <p:nvPr/>
            </p:nvSpPr>
            <p:spPr bwMode="auto">
              <a:xfrm>
                <a:off x="1505" y="2791"/>
                <a:ext cx="2561" cy="257"/>
              </a:xfrm>
              <a:custGeom>
                <a:avLst/>
                <a:gdLst>
                  <a:gd name="T0" fmla="*/ 1 w 4303"/>
                  <a:gd name="T1" fmla="*/ 1 h 432"/>
                  <a:gd name="T2" fmla="*/ 1 w 4303"/>
                  <a:gd name="T3" fmla="*/ 1 h 432"/>
                  <a:gd name="T4" fmla="*/ 1 w 4303"/>
                  <a:gd name="T5" fmla="*/ 1 h 432"/>
                  <a:gd name="T6" fmla="*/ 1 w 4303"/>
                  <a:gd name="T7" fmla="*/ 1 h 432"/>
                  <a:gd name="T8" fmla="*/ 1 w 4303"/>
                  <a:gd name="T9" fmla="*/ 1 h 432"/>
                  <a:gd name="T10" fmla="*/ 1 w 4303"/>
                  <a:gd name="T11" fmla="*/ 1 h 432"/>
                  <a:gd name="T12" fmla="*/ 1 w 4303"/>
                  <a:gd name="T13" fmla="*/ 1 h 432"/>
                  <a:gd name="T14" fmla="*/ 1 w 4303"/>
                  <a:gd name="T15" fmla="*/ 1 h 432"/>
                  <a:gd name="T16" fmla="*/ 1 w 4303"/>
                  <a:gd name="T17" fmla="*/ 0 h 432"/>
                  <a:gd name="T18" fmla="*/ 1 w 4303"/>
                  <a:gd name="T19" fmla="*/ 1 h 432"/>
                  <a:gd name="T20" fmla="*/ 1 w 4303"/>
                  <a:gd name="T21" fmla="*/ 1 h 432"/>
                  <a:gd name="T22" fmla="*/ 0 w 4303"/>
                  <a:gd name="T23" fmla="*/ 1 h 432"/>
                  <a:gd name="T24" fmla="*/ 1 w 4303"/>
                  <a:gd name="T25" fmla="*/ 1 h 432"/>
                  <a:gd name="T26" fmla="*/ 1 w 4303"/>
                  <a:gd name="T27" fmla="*/ 1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3"/>
                  <a:gd name="T43" fmla="*/ 0 h 432"/>
                  <a:gd name="T44" fmla="*/ 4303 w 4303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3" h="432">
                    <a:moveTo>
                      <a:pt x="4293" y="416"/>
                    </a:moveTo>
                    <a:cubicBezTo>
                      <a:pt x="4293" y="398"/>
                      <a:pt x="4303" y="338"/>
                      <a:pt x="4292" y="310"/>
                    </a:cubicBezTo>
                    <a:cubicBezTo>
                      <a:pt x="4281" y="282"/>
                      <a:pt x="4268" y="265"/>
                      <a:pt x="4229" y="249"/>
                    </a:cubicBezTo>
                    <a:cubicBezTo>
                      <a:pt x="4190" y="233"/>
                      <a:pt x="4211" y="241"/>
                      <a:pt x="4055" y="215"/>
                    </a:cubicBezTo>
                    <a:cubicBezTo>
                      <a:pt x="3899" y="189"/>
                      <a:pt x="3516" y="123"/>
                      <a:pt x="3291" y="90"/>
                    </a:cubicBezTo>
                    <a:cubicBezTo>
                      <a:pt x="3066" y="57"/>
                      <a:pt x="2919" y="32"/>
                      <a:pt x="2703" y="18"/>
                    </a:cubicBezTo>
                    <a:cubicBezTo>
                      <a:pt x="2487" y="4"/>
                      <a:pt x="2366" y="6"/>
                      <a:pt x="1993" y="3"/>
                    </a:cubicBezTo>
                    <a:cubicBezTo>
                      <a:pt x="1620" y="0"/>
                      <a:pt x="756" y="2"/>
                      <a:pt x="465" y="2"/>
                    </a:cubicBezTo>
                    <a:lnTo>
                      <a:pt x="245" y="0"/>
                    </a:lnTo>
                    <a:cubicBezTo>
                      <a:pt x="197" y="7"/>
                      <a:pt x="213" y="2"/>
                      <a:pt x="174" y="44"/>
                    </a:cubicBezTo>
                    <a:cubicBezTo>
                      <a:pt x="135" y="86"/>
                      <a:pt x="38" y="213"/>
                      <a:pt x="9" y="252"/>
                    </a:cubicBezTo>
                    <a:lnTo>
                      <a:pt x="0" y="281"/>
                    </a:lnTo>
                    <a:cubicBezTo>
                      <a:pt x="1" y="297"/>
                      <a:pt x="4" y="325"/>
                      <a:pt x="12" y="350"/>
                    </a:cubicBezTo>
                    <a:cubicBezTo>
                      <a:pt x="20" y="375"/>
                      <a:pt x="41" y="415"/>
                      <a:pt x="48" y="43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1" name="Freeform 46"/>
              <p:cNvSpPr>
                <a:spLocks noChangeAspect="1"/>
              </p:cNvSpPr>
              <p:nvPr/>
            </p:nvSpPr>
            <p:spPr bwMode="auto">
              <a:xfrm>
                <a:off x="3878" y="2898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2" name="Freeform 47"/>
              <p:cNvSpPr>
                <a:spLocks noChangeAspect="1"/>
              </p:cNvSpPr>
              <p:nvPr/>
            </p:nvSpPr>
            <p:spPr bwMode="auto">
              <a:xfrm>
                <a:off x="2812" y="2812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3" name="Freeform 48"/>
              <p:cNvSpPr>
                <a:spLocks noChangeAspect="1"/>
              </p:cNvSpPr>
              <p:nvPr/>
            </p:nvSpPr>
            <p:spPr bwMode="auto">
              <a:xfrm>
                <a:off x="2669" y="2778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4" name="Freeform 49"/>
              <p:cNvSpPr>
                <a:spLocks noChangeAspect="1"/>
              </p:cNvSpPr>
              <p:nvPr/>
            </p:nvSpPr>
            <p:spPr bwMode="auto">
              <a:xfrm>
                <a:off x="717" y="2965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5" name="Freeform 50"/>
              <p:cNvSpPr>
                <a:spLocks noChangeAspect="1"/>
              </p:cNvSpPr>
              <p:nvPr/>
            </p:nvSpPr>
            <p:spPr bwMode="auto">
              <a:xfrm>
                <a:off x="1812" y="281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6" name="Freeform 51"/>
              <p:cNvSpPr>
                <a:spLocks noChangeAspect="1"/>
              </p:cNvSpPr>
              <p:nvPr/>
            </p:nvSpPr>
            <p:spPr bwMode="auto">
              <a:xfrm>
                <a:off x="519" y="2823"/>
                <a:ext cx="1585" cy="145"/>
              </a:xfrm>
              <a:custGeom>
                <a:avLst/>
                <a:gdLst>
                  <a:gd name="T0" fmla="*/ 1 w 2662"/>
                  <a:gd name="T1" fmla="*/ 1 h 244"/>
                  <a:gd name="T2" fmla="*/ 1 w 2662"/>
                  <a:gd name="T3" fmla="*/ 1 h 244"/>
                  <a:gd name="T4" fmla="*/ 1 w 2662"/>
                  <a:gd name="T5" fmla="*/ 1 h 244"/>
                  <a:gd name="T6" fmla="*/ 1 w 2662"/>
                  <a:gd name="T7" fmla="*/ 1 h 244"/>
                  <a:gd name="T8" fmla="*/ 1 w 2662"/>
                  <a:gd name="T9" fmla="*/ 1 h 244"/>
                  <a:gd name="T10" fmla="*/ 0 w 2662"/>
                  <a:gd name="T11" fmla="*/ 0 h 2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62"/>
                  <a:gd name="T19" fmla="*/ 0 h 244"/>
                  <a:gd name="T20" fmla="*/ 2662 w 2662"/>
                  <a:gd name="T21" fmla="*/ 244 h 2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62" h="244">
                    <a:moveTo>
                      <a:pt x="2662" y="244"/>
                    </a:moveTo>
                    <a:cubicBezTo>
                      <a:pt x="2559" y="241"/>
                      <a:pt x="2314" y="231"/>
                      <a:pt x="2042" y="228"/>
                    </a:cubicBezTo>
                    <a:cubicBezTo>
                      <a:pt x="1770" y="225"/>
                      <a:pt x="1303" y="239"/>
                      <a:pt x="1028" y="224"/>
                    </a:cubicBezTo>
                    <a:cubicBezTo>
                      <a:pt x="753" y="209"/>
                      <a:pt x="541" y="162"/>
                      <a:pt x="392" y="136"/>
                    </a:cubicBezTo>
                    <a:cubicBezTo>
                      <a:pt x="243" y="110"/>
                      <a:pt x="197" y="93"/>
                      <a:pt x="132" y="70"/>
                    </a:cubicBezTo>
                    <a:cubicBezTo>
                      <a:pt x="67" y="47"/>
                      <a:pt x="27" y="15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7" name="Freeform 52"/>
              <p:cNvSpPr>
                <a:spLocks noChangeAspect="1"/>
              </p:cNvSpPr>
              <p:nvPr/>
            </p:nvSpPr>
            <p:spPr bwMode="auto">
              <a:xfrm>
                <a:off x="1635" y="2811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8" name="Freeform 53"/>
              <p:cNvSpPr>
                <a:spLocks noChangeAspect="1"/>
              </p:cNvSpPr>
              <p:nvPr/>
            </p:nvSpPr>
            <p:spPr bwMode="auto">
              <a:xfrm>
                <a:off x="793" y="2794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59" name="Freeform 54"/>
              <p:cNvSpPr>
                <a:spLocks noChangeAspect="1"/>
              </p:cNvSpPr>
              <p:nvPr/>
            </p:nvSpPr>
            <p:spPr bwMode="auto">
              <a:xfrm>
                <a:off x="281" y="2619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0" name="Freeform 55"/>
              <p:cNvSpPr>
                <a:spLocks noChangeAspect="1"/>
              </p:cNvSpPr>
              <p:nvPr/>
            </p:nvSpPr>
            <p:spPr bwMode="auto">
              <a:xfrm>
                <a:off x="415" y="2890"/>
                <a:ext cx="88" cy="31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1" name="Freeform 56"/>
              <p:cNvSpPr>
                <a:spLocks noChangeAspect="1"/>
              </p:cNvSpPr>
              <p:nvPr/>
            </p:nvSpPr>
            <p:spPr bwMode="auto">
              <a:xfrm>
                <a:off x="222" y="2513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2" name="Freeform 57"/>
              <p:cNvSpPr>
                <a:spLocks noChangeAspect="1"/>
              </p:cNvSpPr>
              <p:nvPr/>
            </p:nvSpPr>
            <p:spPr bwMode="auto">
              <a:xfrm>
                <a:off x="200" y="2361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3" name="Freeform 58"/>
              <p:cNvSpPr>
                <a:spLocks noChangeAspect="1"/>
              </p:cNvSpPr>
              <p:nvPr/>
            </p:nvSpPr>
            <p:spPr bwMode="auto">
              <a:xfrm flipV="1">
                <a:off x="756" y="94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4" name="Freeform 59"/>
              <p:cNvSpPr>
                <a:spLocks noChangeAspect="1"/>
              </p:cNvSpPr>
              <p:nvPr/>
            </p:nvSpPr>
            <p:spPr bwMode="auto">
              <a:xfrm flipV="1">
                <a:off x="4411" y="1015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5" name="Freeform 60"/>
              <p:cNvSpPr>
                <a:spLocks noChangeAspect="1"/>
              </p:cNvSpPr>
              <p:nvPr/>
            </p:nvSpPr>
            <p:spPr bwMode="auto">
              <a:xfrm flipV="1">
                <a:off x="4229" y="937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6" name="Freeform 61"/>
              <p:cNvSpPr>
                <a:spLocks noChangeAspect="1"/>
              </p:cNvSpPr>
              <p:nvPr/>
            </p:nvSpPr>
            <p:spPr bwMode="auto">
              <a:xfrm flipV="1">
                <a:off x="5001" y="884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7" name="Freeform 62"/>
              <p:cNvSpPr>
                <a:spLocks noChangeAspect="1"/>
              </p:cNvSpPr>
              <p:nvPr/>
            </p:nvSpPr>
            <p:spPr bwMode="auto">
              <a:xfrm>
                <a:off x="4973" y="845"/>
                <a:ext cx="616" cy="651"/>
              </a:xfrm>
              <a:custGeom>
                <a:avLst/>
                <a:gdLst>
                  <a:gd name="T0" fmla="*/ 581776 w 529"/>
                  <a:gd name="T1" fmla="*/ 669570 h 558"/>
                  <a:gd name="T2" fmla="*/ 523085 w 529"/>
                  <a:gd name="T3" fmla="*/ 455208 h 558"/>
                  <a:gd name="T4" fmla="*/ 423919 w 529"/>
                  <a:gd name="T5" fmla="*/ 252685 h 558"/>
                  <a:gd name="T6" fmla="*/ 325279 w 529"/>
                  <a:gd name="T7" fmla="*/ 137059 h 558"/>
                  <a:gd name="T8" fmla="*/ 177637 w 529"/>
                  <a:gd name="T9" fmla="*/ 50786 h 558"/>
                  <a:gd name="T10" fmla="*/ 0 w 529"/>
                  <a:gd name="T11" fmla="*/ 0 h 5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9"/>
                  <a:gd name="T19" fmla="*/ 0 h 558"/>
                  <a:gd name="T20" fmla="*/ 529 w 529"/>
                  <a:gd name="T21" fmla="*/ 558 h 5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9" h="558">
                    <a:moveTo>
                      <a:pt x="529" y="558"/>
                    </a:moveTo>
                    <a:cubicBezTo>
                      <a:pt x="520" y="528"/>
                      <a:pt x="499" y="437"/>
                      <a:pt x="475" y="379"/>
                    </a:cubicBezTo>
                    <a:cubicBezTo>
                      <a:pt x="451" y="321"/>
                      <a:pt x="415" y="254"/>
                      <a:pt x="385" y="210"/>
                    </a:cubicBezTo>
                    <a:cubicBezTo>
                      <a:pt x="355" y="167"/>
                      <a:pt x="332" y="143"/>
                      <a:pt x="295" y="115"/>
                    </a:cubicBezTo>
                    <a:cubicBezTo>
                      <a:pt x="257" y="88"/>
                      <a:pt x="210" y="63"/>
                      <a:pt x="161" y="43"/>
                    </a:cubicBezTo>
                    <a:cubicBezTo>
                      <a:pt x="112" y="24"/>
                      <a:pt x="34" y="9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68" name="Freeform 63"/>
              <p:cNvSpPr>
                <a:spLocks noChangeAspect="1"/>
              </p:cNvSpPr>
              <p:nvPr/>
            </p:nvSpPr>
            <p:spPr bwMode="auto">
              <a:xfrm flipV="1">
                <a:off x="5028" y="88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69" name="Freeform 64"/>
              <p:cNvSpPr>
                <a:spLocks noChangeAspect="1"/>
              </p:cNvSpPr>
              <p:nvPr/>
            </p:nvSpPr>
            <p:spPr bwMode="auto">
              <a:xfrm flipV="1">
                <a:off x="3863" y="866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0" name="Freeform 65"/>
              <p:cNvSpPr>
                <a:spLocks noChangeAspect="1"/>
              </p:cNvSpPr>
              <p:nvPr/>
            </p:nvSpPr>
            <p:spPr bwMode="auto">
              <a:xfrm>
                <a:off x="1505" y="834"/>
                <a:ext cx="2559" cy="257"/>
              </a:xfrm>
              <a:custGeom>
                <a:avLst/>
                <a:gdLst>
                  <a:gd name="T0" fmla="*/ 1 w 4302"/>
                  <a:gd name="T1" fmla="*/ 1 h 432"/>
                  <a:gd name="T2" fmla="*/ 1 w 4302"/>
                  <a:gd name="T3" fmla="*/ 1 h 432"/>
                  <a:gd name="T4" fmla="*/ 1 w 4302"/>
                  <a:gd name="T5" fmla="*/ 1 h 432"/>
                  <a:gd name="T6" fmla="*/ 1 w 4302"/>
                  <a:gd name="T7" fmla="*/ 1 h 432"/>
                  <a:gd name="T8" fmla="*/ 1 w 4302"/>
                  <a:gd name="T9" fmla="*/ 1 h 432"/>
                  <a:gd name="T10" fmla="*/ 1 w 4302"/>
                  <a:gd name="T11" fmla="*/ 1 h 432"/>
                  <a:gd name="T12" fmla="*/ 1 w 4302"/>
                  <a:gd name="T13" fmla="*/ 1 h 432"/>
                  <a:gd name="T14" fmla="*/ 1 w 4302"/>
                  <a:gd name="T15" fmla="*/ 1 h 432"/>
                  <a:gd name="T16" fmla="*/ 1 w 4302"/>
                  <a:gd name="T17" fmla="*/ 1 h 432"/>
                  <a:gd name="T18" fmla="*/ 1 w 4302"/>
                  <a:gd name="T19" fmla="*/ 1 h 432"/>
                  <a:gd name="T20" fmla="*/ 1 w 4302"/>
                  <a:gd name="T21" fmla="*/ 1 h 432"/>
                  <a:gd name="T22" fmla="*/ 0 w 4302"/>
                  <a:gd name="T23" fmla="*/ 1 h 432"/>
                  <a:gd name="T24" fmla="*/ 1 w 4302"/>
                  <a:gd name="T25" fmla="*/ 1 h 432"/>
                  <a:gd name="T26" fmla="*/ 1 w 4302"/>
                  <a:gd name="T27" fmla="*/ 0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2"/>
                  <a:gd name="T43" fmla="*/ 0 h 432"/>
                  <a:gd name="T44" fmla="*/ 4302 w 4302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2" h="432">
                    <a:moveTo>
                      <a:pt x="4289" y="15"/>
                    </a:moveTo>
                    <a:cubicBezTo>
                      <a:pt x="4289" y="33"/>
                      <a:pt x="4302" y="94"/>
                      <a:pt x="4292" y="122"/>
                    </a:cubicBezTo>
                    <a:cubicBezTo>
                      <a:pt x="4282" y="150"/>
                      <a:pt x="4268" y="167"/>
                      <a:pt x="4229" y="183"/>
                    </a:cubicBezTo>
                    <a:cubicBezTo>
                      <a:pt x="4190" y="199"/>
                      <a:pt x="4211" y="191"/>
                      <a:pt x="4055" y="217"/>
                    </a:cubicBezTo>
                    <a:cubicBezTo>
                      <a:pt x="3899" y="243"/>
                      <a:pt x="3516" y="309"/>
                      <a:pt x="3291" y="342"/>
                    </a:cubicBezTo>
                    <a:cubicBezTo>
                      <a:pt x="3066" y="375"/>
                      <a:pt x="2919" y="400"/>
                      <a:pt x="2703" y="414"/>
                    </a:cubicBezTo>
                    <a:cubicBezTo>
                      <a:pt x="2487" y="428"/>
                      <a:pt x="2366" y="426"/>
                      <a:pt x="1993" y="429"/>
                    </a:cubicBezTo>
                    <a:cubicBezTo>
                      <a:pt x="1620" y="432"/>
                      <a:pt x="756" y="430"/>
                      <a:pt x="465" y="430"/>
                    </a:cubicBezTo>
                    <a:lnTo>
                      <a:pt x="245" y="432"/>
                    </a:lnTo>
                    <a:cubicBezTo>
                      <a:pt x="197" y="425"/>
                      <a:pt x="213" y="430"/>
                      <a:pt x="174" y="388"/>
                    </a:cubicBezTo>
                    <a:cubicBezTo>
                      <a:pt x="135" y="346"/>
                      <a:pt x="38" y="219"/>
                      <a:pt x="9" y="180"/>
                    </a:cubicBezTo>
                    <a:lnTo>
                      <a:pt x="0" y="151"/>
                    </a:lnTo>
                    <a:cubicBezTo>
                      <a:pt x="1" y="135"/>
                      <a:pt x="4" y="107"/>
                      <a:pt x="12" y="82"/>
                    </a:cubicBezTo>
                    <a:cubicBezTo>
                      <a:pt x="20" y="57"/>
                      <a:pt x="41" y="17"/>
                      <a:pt x="48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71" name="Freeform 66"/>
              <p:cNvSpPr>
                <a:spLocks noChangeAspect="1"/>
              </p:cNvSpPr>
              <p:nvPr/>
            </p:nvSpPr>
            <p:spPr bwMode="auto">
              <a:xfrm flipV="1">
                <a:off x="3878" y="910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2" name="Freeform 67"/>
              <p:cNvSpPr>
                <a:spLocks noChangeAspect="1"/>
              </p:cNvSpPr>
              <p:nvPr/>
            </p:nvSpPr>
            <p:spPr bwMode="auto">
              <a:xfrm flipV="1">
                <a:off x="2812" y="929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3" name="Freeform 68"/>
              <p:cNvSpPr>
                <a:spLocks noChangeAspect="1"/>
              </p:cNvSpPr>
              <p:nvPr/>
            </p:nvSpPr>
            <p:spPr bwMode="auto">
              <a:xfrm flipV="1">
                <a:off x="2669" y="843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4" name="Freeform 69"/>
              <p:cNvSpPr>
                <a:spLocks noChangeAspect="1"/>
              </p:cNvSpPr>
              <p:nvPr/>
            </p:nvSpPr>
            <p:spPr bwMode="auto">
              <a:xfrm flipV="1">
                <a:off x="717" y="860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5" name="Freeform 70"/>
              <p:cNvSpPr>
                <a:spLocks noChangeAspect="1"/>
              </p:cNvSpPr>
              <p:nvPr/>
            </p:nvSpPr>
            <p:spPr bwMode="auto">
              <a:xfrm flipV="1">
                <a:off x="1812" y="93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6" name="Freeform 71"/>
              <p:cNvSpPr>
                <a:spLocks noChangeAspect="1"/>
              </p:cNvSpPr>
              <p:nvPr/>
            </p:nvSpPr>
            <p:spPr bwMode="auto">
              <a:xfrm>
                <a:off x="511" y="914"/>
                <a:ext cx="1593" cy="153"/>
              </a:xfrm>
              <a:custGeom>
                <a:avLst/>
                <a:gdLst>
                  <a:gd name="T0" fmla="*/ 1 w 2676"/>
                  <a:gd name="T1" fmla="*/ 0 h 257"/>
                  <a:gd name="T2" fmla="*/ 1 w 2676"/>
                  <a:gd name="T3" fmla="*/ 1 h 257"/>
                  <a:gd name="T4" fmla="*/ 1 w 2676"/>
                  <a:gd name="T5" fmla="*/ 1 h 257"/>
                  <a:gd name="T6" fmla="*/ 1 w 2676"/>
                  <a:gd name="T7" fmla="*/ 1 h 257"/>
                  <a:gd name="T8" fmla="*/ 1 w 2676"/>
                  <a:gd name="T9" fmla="*/ 1 h 257"/>
                  <a:gd name="T10" fmla="*/ 0 w 2676"/>
                  <a:gd name="T11" fmla="*/ 1 h 2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76"/>
                  <a:gd name="T19" fmla="*/ 0 h 257"/>
                  <a:gd name="T20" fmla="*/ 2676 w 2676"/>
                  <a:gd name="T21" fmla="*/ 257 h 25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76" h="257">
                    <a:moveTo>
                      <a:pt x="2676" y="0"/>
                    </a:moveTo>
                    <a:cubicBezTo>
                      <a:pt x="2573" y="3"/>
                      <a:pt x="2328" y="13"/>
                      <a:pt x="2056" y="16"/>
                    </a:cubicBezTo>
                    <a:cubicBezTo>
                      <a:pt x="1784" y="19"/>
                      <a:pt x="1317" y="5"/>
                      <a:pt x="1042" y="20"/>
                    </a:cubicBezTo>
                    <a:cubicBezTo>
                      <a:pt x="767" y="35"/>
                      <a:pt x="555" y="82"/>
                      <a:pt x="406" y="108"/>
                    </a:cubicBezTo>
                    <a:cubicBezTo>
                      <a:pt x="257" y="134"/>
                      <a:pt x="214" y="149"/>
                      <a:pt x="146" y="174"/>
                    </a:cubicBezTo>
                    <a:cubicBezTo>
                      <a:pt x="78" y="199"/>
                      <a:pt x="30" y="240"/>
                      <a:pt x="0" y="25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77" name="Freeform 72"/>
              <p:cNvSpPr>
                <a:spLocks noChangeAspect="1"/>
              </p:cNvSpPr>
              <p:nvPr/>
            </p:nvSpPr>
            <p:spPr bwMode="auto">
              <a:xfrm flipV="1">
                <a:off x="1635" y="942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8" name="Freeform 73"/>
              <p:cNvSpPr>
                <a:spLocks noChangeAspect="1"/>
              </p:cNvSpPr>
              <p:nvPr/>
            </p:nvSpPr>
            <p:spPr bwMode="auto">
              <a:xfrm flipV="1">
                <a:off x="793" y="941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79" name="Freeform 74"/>
              <p:cNvSpPr>
                <a:spLocks noChangeAspect="1"/>
              </p:cNvSpPr>
              <p:nvPr/>
            </p:nvSpPr>
            <p:spPr bwMode="auto">
              <a:xfrm flipV="1">
                <a:off x="283" y="852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0" name="Freeform 75"/>
              <p:cNvSpPr>
                <a:spLocks noChangeAspect="1"/>
              </p:cNvSpPr>
              <p:nvPr/>
            </p:nvSpPr>
            <p:spPr bwMode="auto">
              <a:xfrm flipV="1">
                <a:off x="415" y="957"/>
                <a:ext cx="88" cy="30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1" name="Freeform 76"/>
              <p:cNvSpPr>
                <a:spLocks noChangeAspect="1"/>
              </p:cNvSpPr>
              <p:nvPr/>
            </p:nvSpPr>
            <p:spPr bwMode="auto">
              <a:xfrm flipV="1">
                <a:off x="222" y="1279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2" name="Freeform 77"/>
              <p:cNvSpPr>
                <a:spLocks noChangeAspect="1"/>
              </p:cNvSpPr>
              <p:nvPr/>
            </p:nvSpPr>
            <p:spPr bwMode="auto">
              <a:xfrm flipV="1">
                <a:off x="200" y="1328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3" name="Freeform 78"/>
              <p:cNvSpPr>
                <a:spLocks noChangeAspect="1"/>
              </p:cNvSpPr>
              <p:nvPr/>
            </p:nvSpPr>
            <p:spPr bwMode="auto">
              <a:xfrm>
                <a:off x="3607" y="3015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4" name="Freeform 79"/>
              <p:cNvSpPr>
                <a:spLocks noChangeAspect="1"/>
              </p:cNvSpPr>
              <p:nvPr/>
            </p:nvSpPr>
            <p:spPr bwMode="auto">
              <a:xfrm>
                <a:off x="3681" y="2955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5" name="Freeform 80"/>
              <p:cNvSpPr>
                <a:spLocks noChangeAspect="1"/>
              </p:cNvSpPr>
              <p:nvPr/>
            </p:nvSpPr>
            <p:spPr bwMode="auto">
              <a:xfrm>
                <a:off x="3621" y="2965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6" name="Freeform 81"/>
              <p:cNvSpPr>
                <a:spLocks noChangeAspect="1"/>
              </p:cNvSpPr>
              <p:nvPr/>
            </p:nvSpPr>
            <p:spPr bwMode="auto">
              <a:xfrm>
                <a:off x="3754" y="2990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7" name="Freeform 82"/>
              <p:cNvSpPr>
                <a:spLocks noChangeAspect="1"/>
              </p:cNvSpPr>
              <p:nvPr/>
            </p:nvSpPr>
            <p:spPr bwMode="auto">
              <a:xfrm>
                <a:off x="3699" y="2899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88" name="Freeform 83"/>
              <p:cNvSpPr>
                <a:spLocks noChangeAspect="1"/>
              </p:cNvSpPr>
              <p:nvPr/>
            </p:nvSpPr>
            <p:spPr bwMode="auto">
              <a:xfrm flipV="1">
                <a:off x="3607" y="619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89" name="Freeform 84"/>
              <p:cNvSpPr>
                <a:spLocks noChangeAspect="1"/>
              </p:cNvSpPr>
              <p:nvPr/>
            </p:nvSpPr>
            <p:spPr bwMode="auto">
              <a:xfrm flipV="1">
                <a:off x="3681" y="627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90" name="Freeform 85"/>
              <p:cNvSpPr>
                <a:spLocks noChangeAspect="1"/>
              </p:cNvSpPr>
              <p:nvPr/>
            </p:nvSpPr>
            <p:spPr bwMode="auto">
              <a:xfrm flipV="1">
                <a:off x="3621" y="632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91" name="Freeform 86"/>
              <p:cNvSpPr>
                <a:spLocks noChangeAspect="1"/>
              </p:cNvSpPr>
              <p:nvPr/>
            </p:nvSpPr>
            <p:spPr bwMode="auto">
              <a:xfrm flipV="1">
                <a:off x="3754" y="884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92" name="Freeform 87"/>
              <p:cNvSpPr>
                <a:spLocks noChangeAspect="1"/>
              </p:cNvSpPr>
              <p:nvPr/>
            </p:nvSpPr>
            <p:spPr bwMode="auto">
              <a:xfrm flipV="1">
                <a:off x="3699" y="914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493" name="Freeform 88"/>
              <p:cNvSpPr>
                <a:spLocks noChangeAspect="1"/>
              </p:cNvSpPr>
              <p:nvPr/>
            </p:nvSpPr>
            <p:spPr bwMode="auto">
              <a:xfrm>
                <a:off x="2897" y="2648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4" name="Freeform 89"/>
              <p:cNvSpPr>
                <a:spLocks noChangeAspect="1"/>
              </p:cNvSpPr>
              <p:nvPr/>
            </p:nvSpPr>
            <p:spPr bwMode="auto">
              <a:xfrm>
                <a:off x="2903" y="2564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5" name="Freeform 90"/>
              <p:cNvSpPr>
                <a:spLocks noChangeAspect="1"/>
              </p:cNvSpPr>
              <p:nvPr/>
            </p:nvSpPr>
            <p:spPr bwMode="auto">
              <a:xfrm>
                <a:off x="2862" y="2551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6" name="Freeform 91"/>
              <p:cNvSpPr>
                <a:spLocks noChangeAspect="1"/>
              </p:cNvSpPr>
              <p:nvPr/>
            </p:nvSpPr>
            <p:spPr bwMode="auto">
              <a:xfrm>
                <a:off x="2869" y="2548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7" name="Freeform 92"/>
              <p:cNvSpPr>
                <a:spLocks noChangeAspect="1"/>
              </p:cNvSpPr>
              <p:nvPr/>
            </p:nvSpPr>
            <p:spPr bwMode="auto">
              <a:xfrm>
                <a:off x="2867" y="2679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8" name="Freeform 93"/>
              <p:cNvSpPr>
                <a:spLocks noChangeAspect="1"/>
              </p:cNvSpPr>
              <p:nvPr/>
            </p:nvSpPr>
            <p:spPr bwMode="auto">
              <a:xfrm>
                <a:off x="760" y="2645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9" name="Freeform 94"/>
              <p:cNvSpPr>
                <a:spLocks noChangeAspect="1"/>
              </p:cNvSpPr>
              <p:nvPr/>
            </p:nvSpPr>
            <p:spPr bwMode="auto">
              <a:xfrm>
                <a:off x="759" y="2556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0" name="Freeform 95"/>
              <p:cNvSpPr>
                <a:spLocks noChangeAspect="1"/>
              </p:cNvSpPr>
              <p:nvPr/>
            </p:nvSpPr>
            <p:spPr bwMode="auto">
              <a:xfrm>
                <a:off x="760" y="2567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1" name="Freeform 96"/>
              <p:cNvSpPr>
                <a:spLocks noChangeAspect="1"/>
              </p:cNvSpPr>
              <p:nvPr/>
            </p:nvSpPr>
            <p:spPr bwMode="auto">
              <a:xfrm>
                <a:off x="760" y="2624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2" name="Freeform 97"/>
              <p:cNvSpPr>
                <a:spLocks noChangeAspect="1"/>
              </p:cNvSpPr>
              <p:nvPr/>
            </p:nvSpPr>
            <p:spPr bwMode="auto">
              <a:xfrm>
                <a:off x="996" y="2557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3" name="Line 98"/>
              <p:cNvSpPr>
                <a:spLocks noChangeAspect="1" noChangeShapeType="1"/>
              </p:cNvSpPr>
              <p:nvPr/>
            </p:nvSpPr>
            <p:spPr bwMode="auto">
              <a:xfrm>
                <a:off x="1000" y="2586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4" name="Line 99"/>
              <p:cNvSpPr>
                <a:spLocks noChangeAspect="1" noChangeShapeType="1"/>
              </p:cNvSpPr>
              <p:nvPr/>
            </p:nvSpPr>
            <p:spPr bwMode="auto">
              <a:xfrm>
                <a:off x="999" y="2618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5" name="Line 100"/>
              <p:cNvSpPr>
                <a:spLocks noChangeAspect="1" noChangeShapeType="1"/>
              </p:cNvSpPr>
              <p:nvPr/>
            </p:nvSpPr>
            <p:spPr bwMode="auto">
              <a:xfrm>
                <a:off x="1011" y="2633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6" name="Line 101"/>
              <p:cNvSpPr>
                <a:spLocks noChangeAspect="1" noChangeShapeType="1"/>
              </p:cNvSpPr>
              <p:nvPr/>
            </p:nvSpPr>
            <p:spPr bwMode="auto">
              <a:xfrm>
                <a:off x="1019" y="2572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07" name="Freeform 102"/>
              <p:cNvSpPr>
                <a:spLocks noChangeAspect="1"/>
              </p:cNvSpPr>
              <p:nvPr/>
            </p:nvSpPr>
            <p:spPr bwMode="auto">
              <a:xfrm flipV="1">
                <a:off x="2897" y="1196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08" name="Freeform 103"/>
              <p:cNvSpPr>
                <a:spLocks noChangeAspect="1"/>
              </p:cNvSpPr>
              <p:nvPr/>
            </p:nvSpPr>
            <p:spPr bwMode="auto">
              <a:xfrm flipV="1">
                <a:off x="2903" y="1289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09" name="Freeform 104"/>
              <p:cNvSpPr>
                <a:spLocks noChangeAspect="1"/>
              </p:cNvSpPr>
              <p:nvPr/>
            </p:nvSpPr>
            <p:spPr bwMode="auto">
              <a:xfrm flipV="1">
                <a:off x="2862" y="1206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0" name="Freeform 105"/>
              <p:cNvSpPr>
                <a:spLocks noChangeAspect="1"/>
              </p:cNvSpPr>
              <p:nvPr/>
            </p:nvSpPr>
            <p:spPr bwMode="auto">
              <a:xfrm flipV="1">
                <a:off x="2869" y="1320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1" name="Freeform 106"/>
              <p:cNvSpPr>
                <a:spLocks noChangeAspect="1"/>
              </p:cNvSpPr>
              <p:nvPr/>
            </p:nvSpPr>
            <p:spPr bwMode="auto">
              <a:xfrm flipV="1">
                <a:off x="2867" y="1197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2" name="Freeform 107"/>
              <p:cNvSpPr>
                <a:spLocks noChangeAspect="1"/>
              </p:cNvSpPr>
              <p:nvPr/>
            </p:nvSpPr>
            <p:spPr bwMode="auto">
              <a:xfrm flipV="1">
                <a:off x="760" y="1230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3" name="Freeform 108"/>
              <p:cNvSpPr>
                <a:spLocks noChangeAspect="1"/>
              </p:cNvSpPr>
              <p:nvPr/>
            </p:nvSpPr>
            <p:spPr bwMode="auto">
              <a:xfrm flipV="1">
                <a:off x="759" y="1317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4" name="Freeform 109"/>
              <p:cNvSpPr>
                <a:spLocks noChangeAspect="1"/>
              </p:cNvSpPr>
              <p:nvPr/>
            </p:nvSpPr>
            <p:spPr bwMode="auto">
              <a:xfrm flipV="1">
                <a:off x="760" y="1302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5" name="Freeform 110"/>
              <p:cNvSpPr>
                <a:spLocks noChangeAspect="1"/>
              </p:cNvSpPr>
              <p:nvPr/>
            </p:nvSpPr>
            <p:spPr bwMode="auto">
              <a:xfrm flipV="1">
                <a:off x="760" y="1240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6" name="Freeform 111"/>
              <p:cNvSpPr>
                <a:spLocks noChangeAspect="1"/>
              </p:cNvSpPr>
              <p:nvPr/>
            </p:nvSpPr>
            <p:spPr bwMode="auto">
              <a:xfrm flipV="1">
                <a:off x="996" y="1230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17" name="Line 112"/>
              <p:cNvSpPr>
                <a:spLocks noChangeAspect="1" noChangeShapeType="1"/>
              </p:cNvSpPr>
              <p:nvPr/>
            </p:nvSpPr>
            <p:spPr bwMode="auto">
              <a:xfrm flipV="1">
                <a:off x="1000" y="1291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18" name="Line 113"/>
              <p:cNvSpPr>
                <a:spLocks noChangeAspect="1" noChangeShapeType="1"/>
              </p:cNvSpPr>
              <p:nvPr/>
            </p:nvSpPr>
            <p:spPr bwMode="auto">
              <a:xfrm flipV="1">
                <a:off x="999" y="1259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19" name="Line 114"/>
              <p:cNvSpPr>
                <a:spLocks noChangeAspect="1" noChangeShapeType="1"/>
              </p:cNvSpPr>
              <p:nvPr/>
            </p:nvSpPr>
            <p:spPr bwMode="auto">
              <a:xfrm flipV="1">
                <a:off x="1011" y="1244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0" name="Line 115"/>
              <p:cNvSpPr>
                <a:spLocks noChangeAspect="1" noChangeShapeType="1"/>
              </p:cNvSpPr>
              <p:nvPr/>
            </p:nvSpPr>
            <p:spPr bwMode="auto">
              <a:xfrm flipV="1">
                <a:off x="1019" y="1305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1" name="Freeform 116"/>
              <p:cNvSpPr>
                <a:spLocks noChangeAspect="1"/>
              </p:cNvSpPr>
              <p:nvPr/>
            </p:nvSpPr>
            <p:spPr bwMode="auto">
              <a:xfrm>
                <a:off x="774" y="1937"/>
                <a:ext cx="205" cy="23"/>
              </a:xfrm>
              <a:custGeom>
                <a:avLst/>
                <a:gdLst>
                  <a:gd name="T0" fmla="*/ 1 w 329"/>
                  <a:gd name="T1" fmla="*/ 1 h 37"/>
                  <a:gd name="T2" fmla="*/ 1 w 329"/>
                  <a:gd name="T3" fmla="*/ 1 h 37"/>
                  <a:gd name="T4" fmla="*/ 1 w 329"/>
                  <a:gd name="T5" fmla="*/ 1 h 37"/>
                  <a:gd name="T6" fmla="*/ 1 w 329"/>
                  <a:gd name="T7" fmla="*/ 1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29"/>
                  <a:gd name="T13" fmla="*/ 0 h 37"/>
                  <a:gd name="T14" fmla="*/ 329 w 329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29" h="37">
                    <a:moveTo>
                      <a:pt x="329" y="35"/>
                    </a:moveTo>
                    <a:cubicBezTo>
                      <a:pt x="282" y="35"/>
                      <a:pt x="94" y="37"/>
                      <a:pt x="47" y="32"/>
                    </a:cubicBezTo>
                    <a:cubicBezTo>
                      <a:pt x="0" y="27"/>
                      <a:pt x="0" y="10"/>
                      <a:pt x="47" y="5"/>
                    </a:cubicBezTo>
                    <a:cubicBezTo>
                      <a:pt x="94" y="0"/>
                      <a:pt x="270" y="3"/>
                      <a:pt x="328" y="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2" name="Freeform 117"/>
              <p:cNvSpPr>
                <a:spLocks noChangeAspect="1"/>
              </p:cNvSpPr>
              <p:nvPr/>
            </p:nvSpPr>
            <p:spPr bwMode="auto">
              <a:xfrm>
                <a:off x="966" y="1904"/>
                <a:ext cx="98" cy="86"/>
              </a:xfrm>
              <a:custGeom>
                <a:avLst/>
                <a:gdLst>
                  <a:gd name="T0" fmla="*/ 0 w 157"/>
                  <a:gd name="T1" fmla="*/ 1 h 137"/>
                  <a:gd name="T2" fmla="*/ 1 w 157"/>
                  <a:gd name="T3" fmla="*/ 1 h 137"/>
                  <a:gd name="T4" fmla="*/ 1 w 157"/>
                  <a:gd name="T5" fmla="*/ 1 h 137"/>
                  <a:gd name="T6" fmla="*/ 1 w 157"/>
                  <a:gd name="T7" fmla="*/ 1 h 137"/>
                  <a:gd name="T8" fmla="*/ 1 w 157"/>
                  <a:gd name="T9" fmla="*/ 1 h 137"/>
                  <a:gd name="T10" fmla="*/ 1 w 157"/>
                  <a:gd name="T11" fmla="*/ 1 h 137"/>
                  <a:gd name="T12" fmla="*/ 1 w 157"/>
                  <a:gd name="T13" fmla="*/ 1 h 137"/>
                  <a:gd name="T14" fmla="*/ 1 w 157"/>
                  <a:gd name="T15" fmla="*/ 1 h 137"/>
                  <a:gd name="T16" fmla="*/ 1 w 157"/>
                  <a:gd name="T17" fmla="*/ 1 h 137"/>
                  <a:gd name="T18" fmla="*/ 0 w 157"/>
                  <a:gd name="T19" fmla="*/ 1 h 13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7"/>
                  <a:gd name="T31" fmla="*/ 0 h 137"/>
                  <a:gd name="T32" fmla="*/ 157 w 157"/>
                  <a:gd name="T33" fmla="*/ 137 h 13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7" h="137">
                    <a:moveTo>
                      <a:pt x="0" y="90"/>
                    </a:moveTo>
                    <a:cubicBezTo>
                      <a:pt x="2" y="93"/>
                      <a:pt x="5" y="102"/>
                      <a:pt x="11" y="107"/>
                    </a:cubicBezTo>
                    <a:cubicBezTo>
                      <a:pt x="17" y="112"/>
                      <a:pt x="31" y="114"/>
                      <a:pt x="39" y="119"/>
                    </a:cubicBezTo>
                    <a:cubicBezTo>
                      <a:pt x="47" y="124"/>
                      <a:pt x="41" y="137"/>
                      <a:pt x="57" y="135"/>
                    </a:cubicBezTo>
                    <a:cubicBezTo>
                      <a:pt x="73" y="133"/>
                      <a:pt x="124" y="121"/>
                      <a:pt x="138" y="105"/>
                    </a:cubicBezTo>
                    <a:cubicBezTo>
                      <a:pt x="152" y="89"/>
                      <a:pt x="157" y="58"/>
                      <a:pt x="143" y="41"/>
                    </a:cubicBezTo>
                    <a:cubicBezTo>
                      <a:pt x="129" y="24"/>
                      <a:pt x="74" y="6"/>
                      <a:pt x="56" y="3"/>
                    </a:cubicBezTo>
                    <a:cubicBezTo>
                      <a:pt x="38" y="0"/>
                      <a:pt x="42" y="17"/>
                      <a:pt x="35" y="23"/>
                    </a:cubicBezTo>
                    <a:cubicBezTo>
                      <a:pt x="28" y="29"/>
                      <a:pt x="17" y="33"/>
                      <a:pt x="11" y="38"/>
                    </a:cubicBezTo>
                    <a:cubicBezTo>
                      <a:pt x="5" y="43"/>
                      <a:pt x="2" y="51"/>
                      <a:pt x="0" y="5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3" name="Line 118"/>
              <p:cNvSpPr>
                <a:spLocks noChangeAspect="1" noChangeShapeType="1"/>
              </p:cNvSpPr>
              <p:nvPr/>
            </p:nvSpPr>
            <p:spPr bwMode="auto">
              <a:xfrm>
                <a:off x="981" y="1937"/>
                <a:ext cx="0" cy="21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4" name="Freeform 119"/>
              <p:cNvSpPr>
                <a:spLocks noChangeAspect="1"/>
              </p:cNvSpPr>
              <p:nvPr/>
            </p:nvSpPr>
            <p:spPr bwMode="auto">
              <a:xfrm>
                <a:off x="984" y="1915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5" name="Freeform 120"/>
              <p:cNvSpPr>
                <a:spLocks noChangeAspect="1"/>
              </p:cNvSpPr>
              <p:nvPr/>
            </p:nvSpPr>
            <p:spPr bwMode="auto">
              <a:xfrm flipV="1">
                <a:off x="984" y="1958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6526" name="Freeform 121"/>
              <p:cNvSpPr>
                <a:spLocks noChangeAspect="1"/>
              </p:cNvSpPr>
              <p:nvPr/>
            </p:nvSpPr>
            <p:spPr bwMode="auto">
              <a:xfrm>
                <a:off x="94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7" name="Freeform 122"/>
              <p:cNvSpPr>
                <a:spLocks noChangeAspect="1"/>
              </p:cNvSpPr>
              <p:nvPr/>
            </p:nvSpPr>
            <p:spPr bwMode="auto">
              <a:xfrm>
                <a:off x="91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8" name="Freeform 123"/>
              <p:cNvSpPr>
                <a:spLocks noChangeAspect="1"/>
              </p:cNvSpPr>
              <p:nvPr/>
            </p:nvSpPr>
            <p:spPr bwMode="auto">
              <a:xfrm>
                <a:off x="887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29" name="Freeform 124"/>
              <p:cNvSpPr>
                <a:spLocks noChangeAspect="1"/>
              </p:cNvSpPr>
              <p:nvPr/>
            </p:nvSpPr>
            <p:spPr bwMode="auto">
              <a:xfrm>
                <a:off x="860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30" name="Freeform 125"/>
              <p:cNvSpPr>
                <a:spLocks noChangeAspect="1"/>
              </p:cNvSpPr>
              <p:nvPr/>
            </p:nvSpPr>
            <p:spPr bwMode="auto">
              <a:xfrm>
                <a:off x="828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31" name="Freeform 126"/>
              <p:cNvSpPr>
                <a:spLocks noChangeAspect="1"/>
              </p:cNvSpPr>
              <p:nvPr/>
            </p:nvSpPr>
            <p:spPr bwMode="auto">
              <a:xfrm>
                <a:off x="803" y="1940"/>
                <a:ext cx="17" cy="17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32" name="Freeform 127"/>
              <p:cNvSpPr>
                <a:spLocks noChangeAspect="1"/>
              </p:cNvSpPr>
              <p:nvPr/>
            </p:nvSpPr>
            <p:spPr bwMode="auto">
              <a:xfrm>
                <a:off x="666" y="1224"/>
                <a:ext cx="95" cy="1429"/>
              </a:xfrm>
              <a:custGeom>
                <a:avLst/>
                <a:gdLst>
                  <a:gd name="T0" fmla="*/ 1 w 160"/>
                  <a:gd name="T1" fmla="*/ 1 h 2429"/>
                  <a:gd name="T2" fmla="*/ 1 w 160"/>
                  <a:gd name="T3" fmla="*/ 1 h 2429"/>
                  <a:gd name="T4" fmla="*/ 1 w 160"/>
                  <a:gd name="T5" fmla="*/ 1 h 2429"/>
                  <a:gd name="T6" fmla="*/ 1 w 160"/>
                  <a:gd name="T7" fmla="*/ 1 h 2429"/>
                  <a:gd name="T8" fmla="*/ 1 w 160"/>
                  <a:gd name="T9" fmla="*/ 1 h 2429"/>
                  <a:gd name="T10" fmla="*/ 1 w 160"/>
                  <a:gd name="T11" fmla="*/ 1 h 2429"/>
                  <a:gd name="T12" fmla="*/ 1 w 160"/>
                  <a:gd name="T13" fmla="*/ 1 h 24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0"/>
                  <a:gd name="T22" fmla="*/ 0 h 2429"/>
                  <a:gd name="T23" fmla="*/ 160 w 160"/>
                  <a:gd name="T24" fmla="*/ 2429 h 24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0" h="2429">
                    <a:moveTo>
                      <a:pt x="160" y="2423"/>
                    </a:moveTo>
                    <a:cubicBezTo>
                      <a:pt x="146" y="2413"/>
                      <a:pt x="100" y="2429"/>
                      <a:pt x="78" y="2365"/>
                    </a:cubicBezTo>
                    <a:cubicBezTo>
                      <a:pt x="56" y="2301"/>
                      <a:pt x="43" y="2229"/>
                      <a:pt x="30" y="2038"/>
                    </a:cubicBezTo>
                    <a:cubicBezTo>
                      <a:pt x="17" y="1847"/>
                      <a:pt x="4" y="1491"/>
                      <a:pt x="2" y="1217"/>
                    </a:cubicBezTo>
                    <a:cubicBezTo>
                      <a:pt x="0" y="943"/>
                      <a:pt x="8" y="584"/>
                      <a:pt x="21" y="392"/>
                    </a:cubicBezTo>
                    <a:cubicBezTo>
                      <a:pt x="34" y="200"/>
                      <a:pt x="55" y="130"/>
                      <a:pt x="78" y="65"/>
                    </a:cubicBezTo>
                    <a:cubicBezTo>
                      <a:pt x="101" y="0"/>
                      <a:pt x="143" y="17"/>
                      <a:pt x="160" y="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9" name="그룹 107"/>
            <p:cNvGrpSpPr>
              <a:grpSpLocks/>
            </p:cNvGrpSpPr>
            <p:nvPr/>
          </p:nvGrpSpPr>
          <p:grpSpPr bwMode="auto">
            <a:xfrm>
              <a:off x="2030116" y="4453396"/>
              <a:ext cx="279212" cy="242675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0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1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" name="그룹 107"/>
            <p:cNvGrpSpPr>
              <a:grpSpLocks/>
            </p:cNvGrpSpPr>
            <p:nvPr/>
          </p:nvGrpSpPr>
          <p:grpSpPr bwMode="auto">
            <a:xfrm rot="10800000">
              <a:off x="3898893" y="4438462"/>
              <a:ext cx="279212" cy="246408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3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4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424" name="그룹 107"/>
            <p:cNvGrpSpPr>
              <a:grpSpLocks/>
            </p:cNvGrpSpPr>
            <p:nvPr/>
          </p:nvGrpSpPr>
          <p:grpSpPr bwMode="auto">
            <a:xfrm rot="5400000">
              <a:off x="3017029" y="3892239"/>
              <a:ext cx="362146" cy="185218"/>
              <a:chOff x="1665463" y="5157193"/>
              <a:chExt cx="407217" cy="288032"/>
            </a:xfrm>
          </p:grpSpPr>
          <p:sp>
            <p:nvSpPr>
              <p:cNvPr id="16431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16432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grpSp>
          <p:nvGrpSpPr>
            <p:cNvPr id="16425" name="그룹 107"/>
            <p:cNvGrpSpPr>
              <a:grpSpLocks/>
            </p:cNvGrpSpPr>
            <p:nvPr/>
          </p:nvGrpSpPr>
          <p:grpSpPr bwMode="auto">
            <a:xfrm rot="-5400000">
              <a:off x="3017029" y="5057075"/>
              <a:ext cx="362146" cy="185218"/>
              <a:chOff x="1665463" y="5157193"/>
              <a:chExt cx="407217" cy="288032"/>
            </a:xfrm>
          </p:grpSpPr>
          <p:sp>
            <p:nvSpPr>
              <p:cNvPr id="16429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16430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sp>
          <p:nvSpPr>
            <p:cNvPr id="16426" name="Oval 26"/>
            <p:cNvSpPr>
              <a:spLocks noChangeAspect="1" noChangeArrowheads="1"/>
            </p:cNvSpPr>
            <p:nvPr/>
          </p:nvSpPr>
          <p:spPr bwMode="auto">
            <a:xfrm rot="5400000">
              <a:off x="1143152" y="4146513"/>
              <a:ext cx="1743519" cy="826574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ot="10800000" vert="eaVert"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16427" name="Oval 129"/>
            <p:cNvSpPr>
              <a:spLocks noChangeAspect="1" noChangeArrowheads="1"/>
            </p:cNvSpPr>
            <p:nvPr/>
          </p:nvSpPr>
          <p:spPr bwMode="auto">
            <a:xfrm>
              <a:off x="2168339" y="4785674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16428" name="Oval 130"/>
            <p:cNvSpPr>
              <a:spLocks noChangeAspect="1" noChangeArrowheads="1"/>
            </p:cNvSpPr>
            <p:nvPr/>
          </p:nvSpPr>
          <p:spPr bwMode="auto">
            <a:xfrm>
              <a:off x="2168339" y="3381897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</p:grpSp>
      <p:grpSp>
        <p:nvGrpSpPr>
          <p:cNvPr id="227" name="Group 27"/>
          <p:cNvGrpSpPr>
            <a:grpSpLocks noChangeAspect="1"/>
          </p:cNvGrpSpPr>
          <p:nvPr/>
        </p:nvGrpSpPr>
        <p:grpSpPr bwMode="auto">
          <a:xfrm>
            <a:off x="4399495" y="2461506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228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29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0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1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2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3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4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5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6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7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8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9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0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1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2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3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4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5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6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7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8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9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0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1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2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3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4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5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6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7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8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9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0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1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2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3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4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5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6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7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8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9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0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1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2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3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4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5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6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7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8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9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0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1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2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3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4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5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6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7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8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9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0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1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2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3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4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5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6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7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8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299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0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1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2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3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4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5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6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7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8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9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0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1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2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3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4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5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6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7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8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9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0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1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2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3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4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5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6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7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cxnSp>
        <p:nvCxnSpPr>
          <p:cNvPr id="16391" name="직선 연결선 12287"/>
          <p:cNvCxnSpPr>
            <a:cxnSpLocks noChangeShapeType="1"/>
          </p:cNvCxnSpPr>
          <p:nvPr/>
        </p:nvCxnSpPr>
        <p:spPr bwMode="auto">
          <a:xfrm>
            <a:off x="365125" y="3157538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289" name="원호 12288"/>
          <p:cNvSpPr/>
          <p:nvPr/>
        </p:nvSpPr>
        <p:spPr bwMode="auto">
          <a:xfrm>
            <a:off x="4160838" y="3162300"/>
            <a:ext cx="3606800" cy="1527175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16393" name="직선 연결선 332"/>
          <p:cNvCxnSpPr>
            <a:cxnSpLocks noChangeShapeType="1"/>
          </p:cNvCxnSpPr>
          <p:nvPr/>
        </p:nvCxnSpPr>
        <p:spPr bwMode="auto">
          <a:xfrm>
            <a:off x="774700" y="2365375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4" name="원호 333"/>
          <p:cNvSpPr/>
          <p:nvPr/>
        </p:nvSpPr>
        <p:spPr bwMode="auto">
          <a:xfrm>
            <a:off x="4570413" y="2370138"/>
            <a:ext cx="3606800" cy="1528762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16395" name="직선 연결선 334"/>
          <p:cNvCxnSpPr>
            <a:cxnSpLocks noChangeShapeType="1"/>
          </p:cNvCxnSpPr>
          <p:nvPr/>
        </p:nvCxnSpPr>
        <p:spPr bwMode="auto">
          <a:xfrm>
            <a:off x="1657350" y="1681163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6" name="원호 335"/>
          <p:cNvSpPr/>
          <p:nvPr/>
        </p:nvSpPr>
        <p:spPr bwMode="auto">
          <a:xfrm>
            <a:off x="5453063" y="1685925"/>
            <a:ext cx="3605212" cy="1528763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grpSp>
        <p:nvGrpSpPr>
          <p:cNvPr id="337" name="Group 27"/>
          <p:cNvGrpSpPr>
            <a:grpSpLocks noChangeAspect="1"/>
          </p:cNvGrpSpPr>
          <p:nvPr/>
        </p:nvGrpSpPr>
        <p:grpSpPr bwMode="auto">
          <a:xfrm rot="866380">
            <a:off x="7445061" y="2045738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338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39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0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1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2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3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4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5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6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7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8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9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0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1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2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3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4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5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6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7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8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9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0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1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2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3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4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5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6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7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8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9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0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1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2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3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4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5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6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7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8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9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0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1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2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3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4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5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6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7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8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9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0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1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2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3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4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5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6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7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8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9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0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1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2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3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4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5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6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7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8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09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0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1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2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3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4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5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6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7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8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9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0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1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2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3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4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5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6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7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8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9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0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1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2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3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4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5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6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7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grpSp>
        <p:nvGrpSpPr>
          <p:cNvPr id="440" name="Group 27"/>
          <p:cNvGrpSpPr>
            <a:grpSpLocks noChangeAspect="1"/>
          </p:cNvGrpSpPr>
          <p:nvPr/>
        </p:nvGrpSpPr>
        <p:grpSpPr bwMode="auto">
          <a:xfrm>
            <a:off x="2109245" y="1745963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441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2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3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4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5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6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7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8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9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0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1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2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3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4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5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6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7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8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9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0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1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2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3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4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5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6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7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8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9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0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1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2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3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4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5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6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7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8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9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0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1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2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3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4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5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6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7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8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9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0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1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2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3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4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5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6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7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8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9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0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1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2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3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4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5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6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7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8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9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0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1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2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3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4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5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6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7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8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9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0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1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2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3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4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5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6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7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8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9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0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1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32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3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4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5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6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7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8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9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40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pic>
        <p:nvPicPr>
          <p:cNvPr id="16399" name="그림 1229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4088" y="5345113"/>
            <a:ext cx="633412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400" name="구부러진 연결선 12301"/>
          <p:cNvCxnSpPr>
            <a:cxnSpLocks noChangeShapeType="1"/>
          </p:cNvCxnSpPr>
          <p:nvPr/>
        </p:nvCxnSpPr>
        <p:spPr bwMode="auto">
          <a:xfrm rot="10800000" flipV="1">
            <a:off x="6850063" y="2312988"/>
            <a:ext cx="2649537" cy="1800225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401" name="구부러진 연결선 551"/>
          <p:cNvCxnSpPr>
            <a:cxnSpLocks noChangeShapeType="1"/>
          </p:cNvCxnSpPr>
          <p:nvPr/>
        </p:nvCxnSpPr>
        <p:spPr bwMode="auto">
          <a:xfrm rot="10800000" flipV="1">
            <a:off x="6886575" y="2349500"/>
            <a:ext cx="2649538" cy="180181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402" name="타원 1"/>
          <p:cNvSpPr>
            <a:spLocks noChangeArrowheads="1"/>
          </p:cNvSpPr>
          <p:nvPr/>
        </p:nvSpPr>
        <p:spPr bwMode="auto">
          <a:xfrm>
            <a:off x="2724150" y="1585913"/>
            <a:ext cx="373063" cy="328612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1</a:t>
            </a:r>
            <a:endParaRPr lang="ko-KR" altLang="en-US"/>
          </a:p>
        </p:txBody>
      </p:sp>
      <p:sp>
        <p:nvSpPr>
          <p:cNvPr id="16403" name="타원 544"/>
          <p:cNvSpPr>
            <a:spLocks noChangeArrowheads="1"/>
          </p:cNvSpPr>
          <p:nvPr/>
        </p:nvSpPr>
        <p:spPr bwMode="auto">
          <a:xfrm>
            <a:off x="5070475" y="2266950"/>
            <a:ext cx="373063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2</a:t>
            </a:r>
            <a:endParaRPr lang="ko-KR" altLang="en-US"/>
          </a:p>
        </p:txBody>
      </p:sp>
      <p:sp>
        <p:nvSpPr>
          <p:cNvPr id="16404" name="타원 545"/>
          <p:cNvSpPr>
            <a:spLocks noChangeArrowheads="1"/>
          </p:cNvSpPr>
          <p:nvPr/>
        </p:nvSpPr>
        <p:spPr bwMode="auto">
          <a:xfrm>
            <a:off x="8129588" y="2136775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3</a:t>
            </a:r>
            <a:endParaRPr lang="ko-KR" altLang="en-US"/>
          </a:p>
        </p:txBody>
      </p:sp>
      <p:sp>
        <p:nvSpPr>
          <p:cNvPr id="16405" name="타원 546"/>
          <p:cNvSpPr>
            <a:spLocks noChangeArrowheads="1"/>
          </p:cNvSpPr>
          <p:nvPr/>
        </p:nvSpPr>
        <p:spPr bwMode="auto">
          <a:xfrm>
            <a:off x="9080500" y="5141913"/>
            <a:ext cx="373063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4</a:t>
            </a:r>
            <a:endParaRPr lang="ko-KR" altLang="en-US"/>
          </a:p>
        </p:txBody>
      </p:sp>
      <p:grpSp>
        <p:nvGrpSpPr>
          <p:cNvPr id="549" name="Group 27"/>
          <p:cNvGrpSpPr>
            <a:grpSpLocks noChangeAspect="1"/>
          </p:cNvGrpSpPr>
          <p:nvPr/>
        </p:nvGrpSpPr>
        <p:grpSpPr bwMode="auto">
          <a:xfrm>
            <a:off x="3133862" y="2430102"/>
            <a:ext cx="990916" cy="585922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550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1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2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3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4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5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6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7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8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9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0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1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2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3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4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5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6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7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8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9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0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1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2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3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4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5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6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7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8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9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0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1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2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3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4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5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6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7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8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9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0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1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2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3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4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5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6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7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8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9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0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1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2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3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4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5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6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7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8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9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0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1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2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3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4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5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6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7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8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9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0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1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2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3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4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5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6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7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8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9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0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1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2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3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4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5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6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7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8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9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0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41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2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3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4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5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6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7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8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9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sp>
        <p:nvSpPr>
          <p:cNvPr id="16407" name="타원 649"/>
          <p:cNvSpPr>
            <a:spLocks noChangeArrowheads="1"/>
          </p:cNvSpPr>
          <p:nvPr/>
        </p:nvSpPr>
        <p:spPr bwMode="auto">
          <a:xfrm>
            <a:off x="744538" y="3771900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1</a:t>
            </a:r>
            <a:endParaRPr lang="ko-KR" altLang="en-US"/>
          </a:p>
        </p:txBody>
      </p:sp>
      <p:sp>
        <p:nvSpPr>
          <p:cNvPr id="16408" name="Content Placeholder 1"/>
          <p:cNvSpPr>
            <a:spLocks noGrp="1"/>
          </p:cNvSpPr>
          <p:nvPr>
            <p:ph idx="4294967295"/>
          </p:nvPr>
        </p:nvSpPr>
        <p:spPr>
          <a:xfrm>
            <a:off x="1212850" y="3716338"/>
            <a:ext cx="5141913" cy="439737"/>
          </a:xfrm>
        </p:spPr>
        <p:txBody>
          <a:bodyPr anchor="ctr"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s don’t know when/whether other vehicles will change lanes.</a:t>
            </a:r>
          </a:p>
        </p:txBody>
      </p:sp>
      <p:sp>
        <p:nvSpPr>
          <p:cNvPr id="16409" name="직사각형 36"/>
          <p:cNvSpPr>
            <a:spLocks noChangeArrowheads="1"/>
          </p:cNvSpPr>
          <p:nvPr/>
        </p:nvSpPr>
        <p:spPr bwMode="auto">
          <a:xfrm>
            <a:off x="911225" y="2600325"/>
            <a:ext cx="5746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 b="1">
                <a:solidFill>
                  <a:srgbClr val="FF0000"/>
                </a:solidFill>
              </a:rPr>
              <a:t>HV</a:t>
            </a:r>
            <a:endParaRPr lang="ko-KR" altLang="en-US" sz="1200" b="1">
              <a:solidFill>
                <a:srgbClr val="FF0000"/>
              </a:solidFill>
            </a:endParaRPr>
          </a:p>
        </p:txBody>
      </p:sp>
      <p:sp>
        <p:nvSpPr>
          <p:cNvPr id="16410" name="타원 653"/>
          <p:cNvSpPr>
            <a:spLocks noChangeArrowheads="1"/>
          </p:cNvSpPr>
          <p:nvPr/>
        </p:nvSpPr>
        <p:spPr bwMode="auto">
          <a:xfrm>
            <a:off x="744538" y="4321175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2</a:t>
            </a:r>
            <a:endParaRPr lang="ko-KR" altLang="en-US"/>
          </a:p>
        </p:txBody>
      </p:sp>
      <p:sp>
        <p:nvSpPr>
          <p:cNvPr id="16411" name="Content Placeholder 1"/>
          <p:cNvSpPr>
            <a:spLocks noGrp="1"/>
          </p:cNvSpPr>
          <p:nvPr>
            <p:ph idx="4294967295"/>
          </p:nvPr>
        </p:nvSpPr>
        <p:spPr>
          <a:xfrm>
            <a:off x="1212850" y="4267200"/>
            <a:ext cx="5037138" cy="438150"/>
          </a:xfrm>
        </p:spPr>
        <p:txBody>
          <a:bodyPr anchor="ctr"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s may not detect this vehicle which is not in line-of-sight.</a:t>
            </a:r>
          </a:p>
        </p:txBody>
      </p:sp>
      <p:sp>
        <p:nvSpPr>
          <p:cNvPr id="16412" name="타원 655"/>
          <p:cNvSpPr>
            <a:spLocks noChangeArrowheads="1"/>
          </p:cNvSpPr>
          <p:nvPr/>
        </p:nvSpPr>
        <p:spPr bwMode="auto">
          <a:xfrm>
            <a:off x="744538" y="4870450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3</a:t>
            </a:r>
            <a:endParaRPr lang="ko-KR" altLang="en-US"/>
          </a:p>
        </p:txBody>
      </p:sp>
      <p:sp>
        <p:nvSpPr>
          <p:cNvPr id="16413" name="Content Placeholder 1"/>
          <p:cNvSpPr>
            <a:spLocks noGrp="1"/>
          </p:cNvSpPr>
          <p:nvPr>
            <p:ph idx="4294967295"/>
          </p:nvPr>
        </p:nvSpPr>
        <p:spPr>
          <a:xfrm>
            <a:off x="1212850" y="4816475"/>
            <a:ext cx="4995863" cy="439738"/>
          </a:xfrm>
        </p:spPr>
        <p:txBody>
          <a:bodyPr anchor="ctr"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s cannot know whether lane change is happening or the vehicle is moving on curved road.</a:t>
            </a:r>
          </a:p>
        </p:txBody>
      </p:sp>
      <p:sp>
        <p:nvSpPr>
          <p:cNvPr id="16414" name="타원 657"/>
          <p:cNvSpPr>
            <a:spLocks noChangeArrowheads="1"/>
          </p:cNvSpPr>
          <p:nvPr/>
        </p:nvSpPr>
        <p:spPr bwMode="auto">
          <a:xfrm>
            <a:off x="744538" y="5421313"/>
            <a:ext cx="373062" cy="328612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4</a:t>
            </a:r>
            <a:endParaRPr lang="ko-KR" altLang="en-US"/>
          </a:p>
        </p:txBody>
      </p:sp>
      <p:sp>
        <p:nvSpPr>
          <p:cNvPr id="16415" name="Content Placeholder 1"/>
          <p:cNvSpPr>
            <a:spLocks noGrp="1"/>
          </p:cNvSpPr>
          <p:nvPr>
            <p:ph idx="4294967295"/>
          </p:nvPr>
        </p:nvSpPr>
        <p:spPr>
          <a:xfrm>
            <a:off x="1212850" y="5365750"/>
            <a:ext cx="4014788" cy="439738"/>
          </a:xfrm>
        </p:spPr>
        <p:txBody>
          <a:bodyPr anchor="ctr"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Sensors don’t know which route should be avoided</a:t>
            </a:r>
          </a:p>
        </p:txBody>
      </p:sp>
      <p:pic>
        <p:nvPicPr>
          <p:cNvPr id="16416" name="그림 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925" y="3141663"/>
            <a:ext cx="261938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7" name="그림 660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2363" y="2838450"/>
            <a:ext cx="261937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8" name="그림 661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25" y="2852738"/>
            <a:ext cx="252095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19" name="그림 662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925" y="5565775"/>
            <a:ext cx="2519363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20" name="그림 123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863" y="5345113"/>
            <a:ext cx="490537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37044012-EE94-4D4F-8531-501FBA9DF6B0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6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18435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Then, what communication can do</a:t>
            </a:r>
          </a:p>
        </p:txBody>
      </p:sp>
      <p:sp>
        <p:nvSpPr>
          <p:cNvPr id="18436" name="Oval 20"/>
          <p:cNvSpPr>
            <a:spLocks noChangeAspect="1" noChangeArrowheads="1"/>
          </p:cNvSpPr>
          <p:nvPr/>
        </p:nvSpPr>
        <p:spPr bwMode="auto">
          <a:xfrm rot="5400000">
            <a:off x="1987550" y="2014538"/>
            <a:ext cx="750888" cy="1452562"/>
          </a:xfrm>
          <a:prstGeom prst="ellipse">
            <a:avLst/>
          </a:prstGeom>
          <a:solidFill>
            <a:schemeClr val="folHlink">
              <a:alpha val="30196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rot="10800000" vert="eaVert" wrap="none" anchor="ctr"/>
          <a:lstStyle>
            <a:lvl1pPr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endParaRPr kumimoji="1" lang="ko-KR" altLang="en-US" sz="1400">
              <a:solidFill>
                <a:schemeClr val="tx1"/>
              </a:solidFill>
              <a:latin typeface="맑은 고딕" charset="-127"/>
              <a:ea typeface="맑은 고딕" charset="-127"/>
              <a:cs typeface="가는둥근제목체" charset="0"/>
            </a:endParaRPr>
          </a:p>
        </p:txBody>
      </p:sp>
      <p:grpSp>
        <p:nvGrpSpPr>
          <p:cNvPr id="18437" name="그룹 2"/>
          <p:cNvGrpSpPr>
            <a:grpSpLocks/>
          </p:cNvGrpSpPr>
          <p:nvPr/>
        </p:nvGrpSpPr>
        <p:grpSpPr bwMode="auto">
          <a:xfrm>
            <a:off x="452438" y="2219325"/>
            <a:ext cx="1490662" cy="1066800"/>
            <a:chOff x="1601625" y="3381897"/>
            <a:chExt cx="2576480" cy="2329672"/>
          </a:xfrm>
        </p:grpSpPr>
        <p:grpSp>
          <p:nvGrpSpPr>
            <p:cNvPr id="18486" name="Group 27"/>
            <p:cNvGrpSpPr>
              <a:grpSpLocks noChangeAspect="1"/>
            </p:cNvGrpSpPr>
            <p:nvPr/>
          </p:nvGrpSpPr>
          <p:grpSpPr bwMode="auto">
            <a:xfrm>
              <a:off x="2317620" y="4102451"/>
              <a:ext cx="1578510" cy="933362"/>
              <a:chOff x="173" y="619"/>
              <a:chExt cx="5499" cy="2644"/>
            </a:xfrm>
          </p:grpSpPr>
          <p:sp>
            <p:nvSpPr>
              <p:cNvPr id="18498" name="Freeform 28"/>
              <p:cNvSpPr>
                <a:spLocks noChangeAspect="1"/>
              </p:cNvSpPr>
              <p:nvPr/>
            </p:nvSpPr>
            <p:spPr bwMode="auto">
              <a:xfrm>
                <a:off x="173" y="813"/>
                <a:ext cx="5499" cy="2253"/>
              </a:xfrm>
              <a:custGeom>
                <a:avLst/>
                <a:gdLst>
                  <a:gd name="T0" fmla="*/ 1 w 9242"/>
                  <a:gd name="T1" fmla="*/ 1 h 3786"/>
                  <a:gd name="T2" fmla="*/ 1 w 9242"/>
                  <a:gd name="T3" fmla="*/ 1 h 3786"/>
                  <a:gd name="T4" fmla="*/ 1 w 9242"/>
                  <a:gd name="T5" fmla="*/ 1 h 3786"/>
                  <a:gd name="T6" fmla="*/ 1 w 9242"/>
                  <a:gd name="T7" fmla="*/ 1 h 3786"/>
                  <a:gd name="T8" fmla="*/ 1 w 9242"/>
                  <a:gd name="T9" fmla="*/ 1 h 3786"/>
                  <a:gd name="T10" fmla="*/ 1 w 9242"/>
                  <a:gd name="T11" fmla="*/ 1 h 3786"/>
                  <a:gd name="T12" fmla="*/ 1 w 9242"/>
                  <a:gd name="T13" fmla="*/ 1 h 3786"/>
                  <a:gd name="T14" fmla="*/ 1 w 9242"/>
                  <a:gd name="T15" fmla="*/ 1 h 3786"/>
                  <a:gd name="T16" fmla="*/ 1 w 9242"/>
                  <a:gd name="T17" fmla="*/ 1 h 3786"/>
                  <a:gd name="T18" fmla="*/ 1 w 9242"/>
                  <a:gd name="T19" fmla="*/ 1 h 3786"/>
                  <a:gd name="T20" fmla="*/ 1 w 9242"/>
                  <a:gd name="T21" fmla="*/ 1 h 3786"/>
                  <a:gd name="T22" fmla="*/ 1 w 9242"/>
                  <a:gd name="T23" fmla="*/ 1 h 3786"/>
                  <a:gd name="T24" fmla="*/ 1 w 9242"/>
                  <a:gd name="T25" fmla="*/ 1 h 3786"/>
                  <a:gd name="T26" fmla="*/ 1 w 9242"/>
                  <a:gd name="T27" fmla="*/ 1 h 3786"/>
                  <a:gd name="T28" fmla="*/ 1 w 9242"/>
                  <a:gd name="T29" fmla="*/ 1 h 3786"/>
                  <a:gd name="T30" fmla="*/ 1 w 9242"/>
                  <a:gd name="T31" fmla="*/ 1 h 3786"/>
                  <a:gd name="T32" fmla="*/ 1 w 9242"/>
                  <a:gd name="T33" fmla="*/ 1 h 3786"/>
                  <a:gd name="T34" fmla="*/ 1 w 9242"/>
                  <a:gd name="T35" fmla="*/ 1 h 3786"/>
                  <a:gd name="T36" fmla="*/ 1 w 9242"/>
                  <a:gd name="T37" fmla="*/ 1 h 3786"/>
                  <a:gd name="T38" fmla="*/ 1 w 9242"/>
                  <a:gd name="T39" fmla="*/ 1 h 3786"/>
                  <a:gd name="T40" fmla="*/ 1 w 9242"/>
                  <a:gd name="T41" fmla="*/ 1 h 3786"/>
                  <a:gd name="T42" fmla="*/ 1 w 9242"/>
                  <a:gd name="T43" fmla="*/ 1 h 3786"/>
                  <a:gd name="T44" fmla="*/ 1 w 9242"/>
                  <a:gd name="T45" fmla="*/ 1 h 3786"/>
                  <a:gd name="T46" fmla="*/ 1 w 9242"/>
                  <a:gd name="T47" fmla="*/ 1 h 3786"/>
                  <a:gd name="T48" fmla="*/ 1 w 9242"/>
                  <a:gd name="T49" fmla="*/ 1 h 3786"/>
                  <a:gd name="T50" fmla="*/ 1 w 9242"/>
                  <a:gd name="T51" fmla="*/ 1 h 3786"/>
                  <a:gd name="T52" fmla="*/ 1 w 9242"/>
                  <a:gd name="T53" fmla="*/ 1 h 3786"/>
                  <a:gd name="T54" fmla="*/ 1 w 9242"/>
                  <a:gd name="T55" fmla="*/ 1 h 3786"/>
                  <a:gd name="T56" fmla="*/ 1 w 9242"/>
                  <a:gd name="T57" fmla="*/ 1 h 3786"/>
                  <a:gd name="T58" fmla="*/ 1 w 9242"/>
                  <a:gd name="T59" fmla="*/ 1 h 3786"/>
                  <a:gd name="T60" fmla="*/ 1 w 9242"/>
                  <a:gd name="T61" fmla="*/ 1 h 3786"/>
                  <a:gd name="T62" fmla="*/ 1 w 9242"/>
                  <a:gd name="T63" fmla="*/ 1 h 3786"/>
                  <a:gd name="T64" fmla="*/ 1 w 9242"/>
                  <a:gd name="T65" fmla="*/ 1 h 3786"/>
                  <a:gd name="T66" fmla="*/ 1 w 9242"/>
                  <a:gd name="T67" fmla="*/ 1 h 3786"/>
                  <a:gd name="T68" fmla="*/ 0 w 9242"/>
                  <a:gd name="T69" fmla="*/ 1 h 3786"/>
                  <a:gd name="T70" fmla="*/ 1 w 9242"/>
                  <a:gd name="T71" fmla="*/ 1 h 3786"/>
                  <a:gd name="T72" fmla="*/ 1 w 9242"/>
                  <a:gd name="T73" fmla="*/ 1 h 3786"/>
                  <a:gd name="T74" fmla="*/ 1 w 9242"/>
                  <a:gd name="T75" fmla="*/ 1 h 3786"/>
                  <a:gd name="T76" fmla="*/ 1 w 9242"/>
                  <a:gd name="T77" fmla="*/ 1 h 378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242"/>
                  <a:gd name="T118" fmla="*/ 0 h 3786"/>
                  <a:gd name="T119" fmla="*/ 9242 w 9242"/>
                  <a:gd name="T120" fmla="*/ 3786 h 378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242" h="3786">
                    <a:moveTo>
                      <a:pt x="444" y="208"/>
                    </a:moveTo>
                    <a:lnTo>
                      <a:pt x="498" y="186"/>
                    </a:lnTo>
                    <a:lnTo>
                      <a:pt x="520" y="143"/>
                    </a:lnTo>
                    <a:lnTo>
                      <a:pt x="535" y="136"/>
                    </a:lnTo>
                    <a:cubicBezTo>
                      <a:pt x="553" y="133"/>
                      <a:pt x="555" y="138"/>
                      <a:pt x="627" y="127"/>
                    </a:cubicBezTo>
                    <a:cubicBezTo>
                      <a:pt x="699" y="116"/>
                      <a:pt x="760" y="85"/>
                      <a:pt x="967" y="68"/>
                    </a:cubicBezTo>
                    <a:cubicBezTo>
                      <a:pt x="1174" y="51"/>
                      <a:pt x="1572" y="32"/>
                      <a:pt x="1867" y="27"/>
                    </a:cubicBezTo>
                    <a:cubicBezTo>
                      <a:pt x="2162" y="22"/>
                      <a:pt x="2456" y="37"/>
                      <a:pt x="2737" y="39"/>
                    </a:cubicBezTo>
                    <a:cubicBezTo>
                      <a:pt x="3018" y="41"/>
                      <a:pt x="3054" y="41"/>
                      <a:pt x="3556" y="41"/>
                    </a:cubicBezTo>
                    <a:cubicBezTo>
                      <a:pt x="4058" y="41"/>
                      <a:pt x="5224" y="44"/>
                      <a:pt x="5748" y="42"/>
                    </a:cubicBezTo>
                    <a:cubicBezTo>
                      <a:pt x="6272" y="40"/>
                      <a:pt x="6401" y="31"/>
                      <a:pt x="6700" y="26"/>
                    </a:cubicBezTo>
                    <a:cubicBezTo>
                      <a:pt x="6999" y="21"/>
                      <a:pt x="7278" y="0"/>
                      <a:pt x="7542" y="11"/>
                    </a:cubicBezTo>
                    <a:cubicBezTo>
                      <a:pt x="7806" y="22"/>
                      <a:pt x="8080" y="37"/>
                      <a:pt x="8286" y="92"/>
                    </a:cubicBezTo>
                    <a:cubicBezTo>
                      <a:pt x="8492" y="147"/>
                      <a:pt x="8639" y="193"/>
                      <a:pt x="8779" y="339"/>
                    </a:cubicBezTo>
                    <a:cubicBezTo>
                      <a:pt x="8919" y="485"/>
                      <a:pt x="9051" y="708"/>
                      <a:pt x="9128" y="968"/>
                    </a:cubicBezTo>
                    <a:cubicBezTo>
                      <a:pt x="9205" y="1228"/>
                      <a:pt x="9242" y="1590"/>
                      <a:pt x="9242" y="1897"/>
                    </a:cubicBezTo>
                    <a:cubicBezTo>
                      <a:pt x="9242" y="2204"/>
                      <a:pt x="9209" y="2550"/>
                      <a:pt x="9131" y="2809"/>
                    </a:cubicBezTo>
                    <a:cubicBezTo>
                      <a:pt x="9053" y="3068"/>
                      <a:pt x="8921" y="3301"/>
                      <a:pt x="8773" y="3450"/>
                    </a:cubicBezTo>
                    <a:cubicBezTo>
                      <a:pt x="8625" y="3600"/>
                      <a:pt x="8464" y="3647"/>
                      <a:pt x="8242" y="3702"/>
                    </a:cubicBezTo>
                    <a:cubicBezTo>
                      <a:pt x="8020" y="3757"/>
                      <a:pt x="7704" y="3770"/>
                      <a:pt x="7442" y="3778"/>
                    </a:cubicBezTo>
                    <a:cubicBezTo>
                      <a:pt x="7180" y="3786"/>
                      <a:pt x="6955" y="3754"/>
                      <a:pt x="6670" y="3749"/>
                    </a:cubicBezTo>
                    <a:cubicBezTo>
                      <a:pt x="6385" y="3744"/>
                      <a:pt x="6252" y="3748"/>
                      <a:pt x="5732" y="3747"/>
                    </a:cubicBezTo>
                    <a:cubicBezTo>
                      <a:pt x="5212" y="3746"/>
                      <a:pt x="4052" y="3743"/>
                      <a:pt x="3552" y="3743"/>
                    </a:cubicBezTo>
                    <a:cubicBezTo>
                      <a:pt x="3052" y="3743"/>
                      <a:pt x="3013" y="3746"/>
                      <a:pt x="2732" y="3749"/>
                    </a:cubicBezTo>
                    <a:cubicBezTo>
                      <a:pt x="2451" y="3752"/>
                      <a:pt x="2158" y="3764"/>
                      <a:pt x="1864" y="3759"/>
                    </a:cubicBezTo>
                    <a:cubicBezTo>
                      <a:pt x="1570" y="3753"/>
                      <a:pt x="1180" y="3733"/>
                      <a:pt x="970" y="3715"/>
                    </a:cubicBezTo>
                    <a:cubicBezTo>
                      <a:pt x="760" y="3698"/>
                      <a:pt x="677" y="3667"/>
                      <a:pt x="602" y="3655"/>
                    </a:cubicBezTo>
                    <a:cubicBezTo>
                      <a:pt x="527" y="3642"/>
                      <a:pt x="536" y="3651"/>
                      <a:pt x="518" y="3641"/>
                    </a:cubicBezTo>
                    <a:lnTo>
                      <a:pt x="496" y="3597"/>
                    </a:lnTo>
                    <a:lnTo>
                      <a:pt x="454" y="3579"/>
                    </a:lnTo>
                    <a:lnTo>
                      <a:pt x="438" y="3573"/>
                    </a:lnTo>
                    <a:cubicBezTo>
                      <a:pt x="408" y="3548"/>
                      <a:pt x="327" y="3508"/>
                      <a:pt x="276" y="3425"/>
                    </a:cubicBezTo>
                    <a:cubicBezTo>
                      <a:pt x="225" y="3341"/>
                      <a:pt x="168" y="3207"/>
                      <a:pt x="130" y="3072"/>
                    </a:cubicBezTo>
                    <a:cubicBezTo>
                      <a:pt x="92" y="2936"/>
                      <a:pt x="68" y="2806"/>
                      <a:pt x="46" y="2612"/>
                    </a:cubicBezTo>
                    <a:cubicBezTo>
                      <a:pt x="24" y="2419"/>
                      <a:pt x="0" y="2153"/>
                      <a:pt x="0" y="1913"/>
                    </a:cubicBezTo>
                    <a:cubicBezTo>
                      <a:pt x="0" y="1672"/>
                      <a:pt x="22" y="1368"/>
                      <a:pt x="45" y="1168"/>
                    </a:cubicBezTo>
                    <a:cubicBezTo>
                      <a:pt x="68" y="968"/>
                      <a:pt x="98" y="849"/>
                      <a:pt x="136" y="713"/>
                    </a:cubicBezTo>
                    <a:cubicBezTo>
                      <a:pt x="174" y="576"/>
                      <a:pt x="225" y="435"/>
                      <a:pt x="276" y="351"/>
                    </a:cubicBezTo>
                    <a:cubicBezTo>
                      <a:pt x="327" y="266"/>
                      <a:pt x="444" y="208"/>
                      <a:pt x="444" y="208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499" name="Freeform 29"/>
              <p:cNvSpPr>
                <a:spLocks noChangeAspect="1"/>
              </p:cNvSpPr>
              <p:nvPr/>
            </p:nvSpPr>
            <p:spPr bwMode="auto">
              <a:xfrm>
                <a:off x="5552" y="1492"/>
                <a:ext cx="108" cy="895"/>
              </a:xfrm>
              <a:custGeom>
                <a:avLst/>
                <a:gdLst>
                  <a:gd name="T0" fmla="*/ 4913 w 93"/>
                  <a:gd name="T1" fmla="*/ 13861 h 768"/>
                  <a:gd name="T2" fmla="*/ 27626 w 93"/>
                  <a:gd name="T3" fmla="*/ 173375 h 768"/>
                  <a:gd name="T4" fmla="*/ 40773 w 93"/>
                  <a:gd name="T5" fmla="*/ 434267 h 768"/>
                  <a:gd name="T6" fmla="*/ 25451 w 93"/>
                  <a:gd name="T7" fmla="*/ 697175 h 768"/>
                  <a:gd name="T8" fmla="*/ 0 w 93"/>
                  <a:gd name="T9" fmla="*/ 863517 h 768"/>
                  <a:gd name="T10" fmla="*/ 5705 w 93"/>
                  <a:gd name="T11" fmla="*/ 868063 h 768"/>
                  <a:gd name="T12" fmla="*/ 31190 w 93"/>
                  <a:gd name="T13" fmla="*/ 869355 h 768"/>
                  <a:gd name="T14" fmla="*/ 60731 w 93"/>
                  <a:gd name="T15" fmla="*/ 829336 h 768"/>
                  <a:gd name="T16" fmla="*/ 63855 w 93"/>
                  <a:gd name="T17" fmla="*/ 818007 h 768"/>
                  <a:gd name="T18" fmla="*/ 83691 w 93"/>
                  <a:gd name="T19" fmla="*/ 652396 h 768"/>
                  <a:gd name="T20" fmla="*/ 89275 w 93"/>
                  <a:gd name="T21" fmla="*/ 436967 h 768"/>
                  <a:gd name="T22" fmla="*/ 81901 w 93"/>
                  <a:gd name="T23" fmla="*/ 212427 h 768"/>
                  <a:gd name="T24" fmla="*/ 61733 w 93"/>
                  <a:gd name="T25" fmla="*/ 34720 h 768"/>
                  <a:gd name="T26" fmla="*/ 53159 w 93"/>
                  <a:gd name="T27" fmla="*/ 25738 h 768"/>
                  <a:gd name="T28" fmla="*/ 26991 w 93"/>
                  <a:gd name="T29" fmla="*/ 3 h 768"/>
                  <a:gd name="T30" fmla="*/ 10376 w 93"/>
                  <a:gd name="T31" fmla="*/ 7515 h 768"/>
                  <a:gd name="T32" fmla="*/ 4913 w 93"/>
                  <a:gd name="T33" fmla="*/ 13861 h 76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"/>
                  <a:gd name="T52" fmla="*/ 0 h 768"/>
                  <a:gd name="T53" fmla="*/ 93 w 93"/>
                  <a:gd name="T54" fmla="*/ 768 h 76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" h="768">
                    <a:moveTo>
                      <a:pt x="5" y="12"/>
                    </a:moveTo>
                    <a:cubicBezTo>
                      <a:pt x="8" y="36"/>
                      <a:pt x="23" y="91"/>
                      <a:pt x="29" y="153"/>
                    </a:cubicBezTo>
                    <a:cubicBezTo>
                      <a:pt x="35" y="215"/>
                      <a:pt x="43" y="305"/>
                      <a:pt x="42" y="381"/>
                    </a:cubicBezTo>
                    <a:cubicBezTo>
                      <a:pt x="41" y="457"/>
                      <a:pt x="33" y="548"/>
                      <a:pt x="26" y="611"/>
                    </a:cubicBezTo>
                    <a:cubicBezTo>
                      <a:pt x="19" y="674"/>
                      <a:pt x="3" y="732"/>
                      <a:pt x="0" y="757"/>
                    </a:cubicBezTo>
                    <a:lnTo>
                      <a:pt x="6" y="761"/>
                    </a:lnTo>
                    <a:cubicBezTo>
                      <a:pt x="11" y="762"/>
                      <a:pt x="22" y="768"/>
                      <a:pt x="32" y="762"/>
                    </a:cubicBezTo>
                    <a:cubicBezTo>
                      <a:pt x="41" y="757"/>
                      <a:pt x="56" y="735"/>
                      <a:pt x="62" y="728"/>
                    </a:cubicBezTo>
                    <a:lnTo>
                      <a:pt x="66" y="717"/>
                    </a:lnTo>
                    <a:cubicBezTo>
                      <a:pt x="70" y="691"/>
                      <a:pt x="82" y="628"/>
                      <a:pt x="86" y="572"/>
                    </a:cubicBezTo>
                    <a:cubicBezTo>
                      <a:pt x="90" y="516"/>
                      <a:pt x="93" y="447"/>
                      <a:pt x="93" y="383"/>
                    </a:cubicBezTo>
                    <a:cubicBezTo>
                      <a:pt x="93" y="319"/>
                      <a:pt x="89" y="245"/>
                      <a:pt x="84" y="186"/>
                    </a:cubicBezTo>
                    <a:cubicBezTo>
                      <a:pt x="79" y="127"/>
                      <a:pt x="68" y="57"/>
                      <a:pt x="63" y="30"/>
                    </a:cubicBezTo>
                    <a:lnTo>
                      <a:pt x="54" y="23"/>
                    </a:lnTo>
                    <a:cubicBezTo>
                      <a:pt x="48" y="19"/>
                      <a:pt x="35" y="6"/>
                      <a:pt x="28" y="3"/>
                    </a:cubicBezTo>
                    <a:cubicBezTo>
                      <a:pt x="21" y="0"/>
                      <a:pt x="14" y="6"/>
                      <a:pt x="10" y="7"/>
                    </a:cubicBezTo>
                    <a:lnTo>
                      <a:pt x="5" y="12"/>
                    </a:ln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0" name="Freeform 30"/>
              <p:cNvSpPr>
                <a:spLocks noChangeAspect="1"/>
              </p:cNvSpPr>
              <p:nvPr/>
            </p:nvSpPr>
            <p:spPr bwMode="auto">
              <a:xfrm>
                <a:off x="223" y="1141"/>
                <a:ext cx="385" cy="1602"/>
              </a:xfrm>
              <a:custGeom>
                <a:avLst/>
                <a:gdLst>
                  <a:gd name="T0" fmla="*/ 1 w 647"/>
                  <a:gd name="T1" fmla="*/ 1 h 2749"/>
                  <a:gd name="T2" fmla="*/ 1 w 647"/>
                  <a:gd name="T3" fmla="*/ 1 h 2749"/>
                  <a:gd name="T4" fmla="*/ 1 w 647"/>
                  <a:gd name="T5" fmla="*/ 1 h 2749"/>
                  <a:gd name="T6" fmla="*/ 1 w 647"/>
                  <a:gd name="T7" fmla="*/ 1 h 2749"/>
                  <a:gd name="T8" fmla="*/ 1 w 647"/>
                  <a:gd name="T9" fmla="*/ 1 h 2749"/>
                  <a:gd name="T10" fmla="*/ 1 w 647"/>
                  <a:gd name="T11" fmla="*/ 1 h 2749"/>
                  <a:gd name="T12" fmla="*/ 0 w 647"/>
                  <a:gd name="T13" fmla="*/ 1 h 2749"/>
                  <a:gd name="T14" fmla="*/ 1 w 647"/>
                  <a:gd name="T15" fmla="*/ 1 h 2749"/>
                  <a:gd name="T16" fmla="*/ 1 w 647"/>
                  <a:gd name="T17" fmla="*/ 1 h 2749"/>
                  <a:gd name="T18" fmla="*/ 1 w 647"/>
                  <a:gd name="T19" fmla="*/ 1 h 2749"/>
                  <a:gd name="T20" fmla="*/ 1 w 647"/>
                  <a:gd name="T21" fmla="*/ 1 h 2749"/>
                  <a:gd name="T22" fmla="*/ 1 w 647"/>
                  <a:gd name="T23" fmla="*/ 1 h 2749"/>
                  <a:gd name="T24" fmla="*/ 1 w 647"/>
                  <a:gd name="T25" fmla="*/ 1 h 27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47"/>
                  <a:gd name="T40" fmla="*/ 0 h 2749"/>
                  <a:gd name="T41" fmla="*/ 647 w 647"/>
                  <a:gd name="T42" fmla="*/ 2749 h 274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47" h="2749">
                    <a:moveTo>
                      <a:pt x="628" y="2635"/>
                    </a:moveTo>
                    <a:cubicBezTo>
                      <a:pt x="624" y="2645"/>
                      <a:pt x="645" y="2678"/>
                      <a:pt x="604" y="2695"/>
                    </a:cubicBezTo>
                    <a:cubicBezTo>
                      <a:pt x="563" y="2712"/>
                      <a:pt x="443" y="2749"/>
                      <a:pt x="382" y="2738"/>
                    </a:cubicBezTo>
                    <a:cubicBezTo>
                      <a:pt x="321" y="2727"/>
                      <a:pt x="287" y="2697"/>
                      <a:pt x="240" y="2627"/>
                    </a:cubicBezTo>
                    <a:cubicBezTo>
                      <a:pt x="193" y="2557"/>
                      <a:pt x="134" y="2430"/>
                      <a:pt x="100" y="2319"/>
                    </a:cubicBezTo>
                    <a:cubicBezTo>
                      <a:pt x="66" y="2208"/>
                      <a:pt x="53" y="2119"/>
                      <a:pt x="36" y="1959"/>
                    </a:cubicBezTo>
                    <a:cubicBezTo>
                      <a:pt x="19" y="1799"/>
                      <a:pt x="0" y="1553"/>
                      <a:pt x="0" y="1359"/>
                    </a:cubicBezTo>
                    <a:cubicBezTo>
                      <a:pt x="0" y="1165"/>
                      <a:pt x="19" y="944"/>
                      <a:pt x="37" y="792"/>
                    </a:cubicBezTo>
                    <a:cubicBezTo>
                      <a:pt x="55" y="640"/>
                      <a:pt x="77" y="560"/>
                      <a:pt x="111" y="449"/>
                    </a:cubicBezTo>
                    <a:cubicBezTo>
                      <a:pt x="145" y="338"/>
                      <a:pt x="198" y="198"/>
                      <a:pt x="240" y="125"/>
                    </a:cubicBezTo>
                    <a:cubicBezTo>
                      <a:pt x="282" y="52"/>
                      <a:pt x="303" y="22"/>
                      <a:pt x="363" y="11"/>
                    </a:cubicBezTo>
                    <a:cubicBezTo>
                      <a:pt x="423" y="0"/>
                      <a:pt x="559" y="43"/>
                      <a:pt x="603" y="59"/>
                    </a:cubicBezTo>
                    <a:cubicBezTo>
                      <a:pt x="647" y="75"/>
                      <a:pt x="621" y="102"/>
                      <a:pt x="625" y="110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1" name="Freeform 31"/>
              <p:cNvSpPr>
                <a:spLocks noChangeAspect="1"/>
              </p:cNvSpPr>
              <p:nvPr/>
            </p:nvSpPr>
            <p:spPr bwMode="auto">
              <a:xfrm>
                <a:off x="448" y="1155"/>
                <a:ext cx="311" cy="1565"/>
              </a:xfrm>
              <a:custGeom>
                <a:avLst/>
                <a:gdLst>
                  <a:gd name="T0" fmla="*/ 1 w 523"/>
                  <a:gd name="T1" fmla="*/ 1 h 2682"/>
                  <a:gd name="T2" fmla="*/ 1 w 523"/>
                  <a:gd name="T3" fmla="*/ 1 h 2682"/>
                  <a:gd name="T4" fmla="*/ 1 w 523"/>
                  <a:gd name="T5" fmla="*/ 1 h 2682"/>
                  <a:gd name="T6" fmla="*/ 1 w 523"/>
                  <a:gd name="T7" fmla="*/ 1 h 2682"/>
                  <a:gd name="T8" fmla="*/ 1 w 523"/>
                  <a:gd name="T9" fmla="*/ 1 h 2682"/>
                  <a:gd name="T10" fmla="*/ 1 w 523"/>
                  <a:gd name="T11" fmla="*/ 1 h 2682"/>
                  <a:gd name="T12" fmla="*/ 1 w 523"/>
                  <a:gd name="T13" fmla="*/ 1 h 268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3"/>
                  <a:gd name="T22" fmla="*/ 0 h 2682"/>
                  <a:gd name="T23" fmla="*/ 523 w 523"/>
                  <a:gd name="T24" fmla="*/ 2682 h 268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3" h="2682">
                    <a:moveTo>
                      <a:pt x="523" y="2682"/>
                    </a:moveTo>
                    <a:cubicBezTo>
                      <a:pt x="469" y="2662"/>
                      <a:pt x="279" y="2669"/>
                      <a:pt x="197" y="2559"/>
                    </a:cubicBezTo>
                    <a:cubicBezTo>
                      <a:pt x="115" y="2449"/>
                      <a:pt x="66" y="2226"/>
                      <a:pt x="33" y="2023"/>
                    </a:cubicBezTo>
                    <a:cubicBezTo>
                      <a:pt x="0" y="1820"/>
                      <a:pt x="0" y="1567"/>
                      <a:pt x="1" y="1339"/>
                    </a:cubicBezTo>
                    <a:cubicBezTo>
                      <a:pt x="2" y="1111"/>
                      <a:pt x="4" y="860"/>
                      <a:pt x="41" y="655"/>
                    </a:cubicBezTo>
                    <a:cubicBezTo>
                      <a:pt x="78" y="450"/>
                      <a:pt x="145" y="214"/>
                      <a:pt x="225" y="107"/>
                    </a:cubicBezTo>
                    <a:cubicBezTo>
                      <a:pt x="305" y="0"/>
                      <a:pt x="461" y="32"/>
                      <a:pt x="523" y="12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2" name="Freeform 32"/>
              <p:cNvSpPr>
                <a:spLocks noChangeAspect="1"/>
              </p:cNvSpPr>
              <p:nvPr/>
            </p:nvSpPr>
            <p:spPr bwMode="auto">
              <a:xfrm>
                <a:off x="434" y="1007"/>
                <a:ext cx="332" cy="1861"/>
              </a:xfrm>
              <a:custGeom>
                <a:avLst/>
                <a:gdLst>
                  <a:gd name="T0" fmla="*/ 0 w 558"/>
                  <a:gd name="T1" fmla="*/ 1 h 3174"/>
                  <a:gd name="T2" fmla="*/ 1 w 558"/>
                  <a:gd name="T3" fmla="*/ 1 h 3174"/>
                  <a:gd name="T4" fmla="*/ 1 w 558"/>
                  <a:gd name="T5" fmla="*/ 1 h 3174"/>
                  <a:gd name="T6" fmla="*/ 1 w 558"/>
                  <a:gd name="T7" fmla="*/ 1 h 3174"/>
                  <a:gd name="T8" fmla="*/ 1 w 558"/>
                  <a:gd name="T9" fmla="*/ 1 h 3174"/>
                  <a:gd name="T10" fmla="*/ 1 w 558"/>
                  <a:gd name="T11" fmla="*/ 1 h 3174"/>
                  <a:gd name="T12" fmla="*/ 1 w 558"/>
                  <a:gd name="T13" fmla="*/ 1 h 3174"/>
                  <a:gd name="T14" fmla="*/ 1 w 558"/>
                  <a:gd name="T15" fmla="*/ 1 h 3174"/>
                  <a:gd name="T16" fmla="*/ 1 w 558"/>
                  <a:gd name="T17" fmla="*/ 1 h 3174"/>
                  <a:gd name="T18" fmla="*/ 1 w 558"/>
                  <a:gd name="T19" fmla="*/ 1 h 3174"/>
                  <a:gd name="T20" fmla="*/ 1 w 558"/>
                  <a:gd name="T21" fmla="*/ 1 h 3174"/>
                  <a:gd name="T22" fmla="*/ 1 w 558"/>
                  <a:gd name="T23" fmla="*/ 1 h 3174"/>
                  <a:gd name="T24" fmla="*/ 1 w 558"/>
                  <a:gd name="T25" fmla="*/ 1 h 3174"/>
                  <a:gd name="T26" fmla="*/ 1 w 558"/>
                  <a:gd name="T27" fmla="*/ 1 h 3174"/>
                  <a:gd name="T28" fmla="*/ 1 w 558"/>
                  <a:gd name="T29" fmla="*/ 0 h 317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58"/>
                  <a:gd name="T46" fmla="*/ 0 h 3174"/>
                  <a:gd name="T47" fmla="*/ 558 w 558"/>
                  <a:gd name="T48" fmla="*/ 3174 h 317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58" h="3174">
                    <a:moveTo>
                      <a:pt x="0" y="3174"/>
                    </a:moveTo>
                    <a:cubicBezTo>
                      <a:pt x="16" y="3160"/>
                      <a:pt x="41" y="3114"/>
                      <a:pt x="95" y="3090"/>
                    </a:cubicBezTo>
                    <a:cubicBezTo>
                      <a:pt x="149" y="3066"/>
                      <a:pt x="254" y="3050"/>
                      <a:pt x="326" y="3027"/>
                    </a:cubicBezTo>
                    <a:cubicBezTo>
                      <a:pt x="398" y="3004"/>
                      <a:pt x="491" y="2965"/>
                      <a:pt x="528" y="2949"/>
                    </a:cubicBezTo>
                    <a:lnTo>
                      <a:pt x="546" y="2932"/>
                    </a:lnTo>
                    <a:lnTo>
                      <a:pt x="555" y="2910"/>
                    </a:lnTo>
                    <a:cubicBezTo>
                      <a:pt x="552" y="2814"/>
                      <a:pt x="534" y="2575"/>
                      <a:pt x="525" y="2355"/>
                    </a:cubicBezTo>
                    <a:cubicBezTo>
                      <a:pt x="516" y="2135"/>
                      <a:pt x="505" y="1834"/>
                      <a:pt x="503" y="1591"/>
                    </a:cubicBezTo>
                    <a:cubicBezTo>
                      <a:pt x="501" y="1348"/>
                      <a:pt x="506" y="1114"/>
                      <a:pt x="515" y="897"/>
                    </a:cubicBezTo>
                    <a:cubicBezTo>
                      <a:pt x="524" y="680"/>
                      <a:pt x="552" y="394"/>
                      <a:pt x="558" y="289"/>
                    </a:cubicBezTo>
                    <a:lnTo>
                      <a:pt x="552" y="264"/>
                    </a:lnTo>
                    <a:lnTo>
                      <a:pt x="530" y="244"/>
                    </a:lnTo>
                    <a:cubicBezTo>
                      <a:pt x="494" y="227"/>
                      <a:pt x="411" y="188"/>
                      <a:pt x="338" y="162"/>
                    </a:cubicBezTo>
                    <a:cubicBezTo>
                      <a:pt x="265" y="136"/>
                      <a:pt x="149" y="113"/>
                      <a:pt x="93" y="86"/>
                    </a:cubicBezTo>
                    <a:cubicBezTo>
                      <a:pt x="37" y="59"/>
                      <a:pt x="21" y="18"/>
                      <a:pt x="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3" name="Freeform 33"/>
              <p:cNvSpPr>
                <a:spLocks noChangeAspect="1"/>
              </p:cNvSpPr>
              <p:nvPr/>
            </p:nvSpPr>
            <p:spPr bwMode="auto">
              <a:xfrm>
                <a:off x="5580" y="1493"/>
                <a:ext cx="51" cy="886"/>
              </a:xfrm>
              <a:custGeom>
                <a:avLst/>
                <a:gdLst>
                  <a:gd name="T0" fmla="*/ 2 w 44"/>
                  <a:gd name="T1" fmla="*/ 0 h 760"/>
                  <a:gd name="T2" fmla="*/ 24590 w 44"/>
                  <a:gd name="T3" fmla="*/ 155606 h 760"/>
                  <a:gd name="T4" fmla="*/ 39599 w 44"/>
                  <a:gd name="T5" fmla="*/ 423887 h 760"/>
                  <a:gd name="T6" fmla="*/ 27766 w 44"/>
                  <a:gd name="T7" fmla="*/ 670795 h 760"/>
                  <a:gd name="T8" fmla="*/ 0 w 44"/>
                  <a:gd name="T9" fmla="*/ 881816 h 7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4"/>
                  <a:gd name="T16" fmla="*/ 0 h 760"/>
                  <a:gd name="T17" fmla="*/ 44 w 44"/>
                  <a:gd name="T18" fmla="*/ 760 h 7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4" h="760">
                    <a:moveTo>
                      <a:pt x="2" y="0"/>
                    </a:moveTo>
                    <a:cubicBezTo>
                      <a:pt x="6" y="22"/>
                      <a:pt x="21" y="74"/>
                      <a:pt x="28" y="135"/>
                    </a:cubicBezTo>
                    <a:cubicBezTo>
                      <a:pt x="35" y="196"/>
                      <a:pt x="44" y="291"/>
                      <a:pt x="44" y="365"/>
                    </a:cubicBezTo>
                    <a:cubicBezTo>
                      <a:pt x="44" y="439"/>
                      <a:pt x="37" y="512"/>
                      <a:pt x="30" y="578"/>
                    </a:cubicBezTo>
                    <a:cubicBezTo>
                      <a:pt x="23" y="644"/>
                      <a:pt x="6" y="722"/>
                      <a:pt x="0" y="76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4" name="Freeform 34"/>
              <p:cNvSpPr>
                <a:spLocks noChangeAspect="1"/>
              </p:cNvSpPr>
              <p:nvPr/>
            </p:nvSpPr>
            <p:spPr bwMode="auto">
              <a:xfrm>
                <a:off x="5603" y="1508"/>
                <a:ext cx="46" cy="857"/>
              </a:xfrm>
              <a:custGeom>
                <a:avLst/>
                <a:gdLst>
                  <a:gd name="T0" fmla="*/ 0 w 39"/>
                  <a:gd name="T1" fmla="*/ 0 h 735"/>
                  <a:gd name="T2" fmla="*/ 48143 w 39"/>
                  <a:gd name="T3" fmla="*/ 160952 h 735"/>
                  <a:gd name="T4" fmla="*/ 76892 w 39"/>
                  <a:gd name="T5" fmla="*/ 414481 h 735"/>
                  <a:gd name="T6" fmla="*/ 55271 w 39"/>
                  <a:gd name="T7" fmla="*/ 663207 h 735"/>
                  <a:gd name="T8" fmla="*/ 1 w 39"/>
                  <a:gd name="T9" fmla="*/ 858657 h 7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735"/>
                  <a:gd name="T17" fmla="*/ 39 w 39"/>
                  <a:gd name="T18" fmla="*/ 735 h 7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735">
                    <a:moveTo>
                      <a:pt x="0" y="0"/>
                    </a:moveTo>
                    <a:cubicBezTo>
                      <a:pt x="4" y="23"/>
                      <a:pt x="19" y="79"/>
                      <a:pt x="25" y="138"/>
                    </a:cubicBezTo>
                    <a:cubicBezTo>
                      <a:pt x="31" y="197"/>
                      <a:pt x="39" y="283"/>
                      <a:pt x="39" y="354"/>
                    </a:cubicBezTo>
                    <a:cubicBezTo>
                      <a:pt x="39" y="425"/>
                      <a:pt x="34" y="504"/>
                      <a:pt x="28" y="567"/>
                    </a:cubicBezTo>
                    <a:cubicBezTo>
                      <a:pt x="22" y="630"/>
                      <a:pt x="7" y="700"/>
                      <a:pt x="1" y="73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5" name="Freeform 35"/>
              <p:cNvSpPr>
                <a:spLocks noChangeAspect="1"/>
              </p:cNvSpPr>
              <p:nvPr/>
            </p:nvSpPr>
            <p:spPr bwMode="auto">
              <a:xfrm>
                <a:off x="3395" y="999"/>
                <a:ext cx="1116" cy="1884"/>
              </a:xfrm>
              <a:custGeom>
                <a:avLst/>
                <a:gdLst>
                  <a:gd name="T0" fmla="*/ 1 w 1875"/>
                  <a:gd name="T1" fmla="*/ 1 h 3187"/>
                  <a:gd name="T2" fmla="*/ 1 w 1875"/>
                  <a:gd name="T3" fmla="*/ 1 h 3187"/>
                  <a:gd name="T4" fmla="*/ 1 w 1875"/>
                  <a:gd name="T5" fmla="*/ 1 h 3187"/>
                  <a:gd name="T6" fmla="*/ 1 w 1875"/>
                  <a:gd name="T7" fmla="*/ 1 h 3187"/>
                  <a:gd name="T8" fmla="*/ 1 w 1875"/>
                  <a:gd name="T9" fmla="*/ 1 h 3187"/>
                  <a:gd name="T10" fmla="*/ 1 w 1875"/>
                  <a:gd name="T11" fmla="*/ 1 h 3187"/>
                  <a:gd name="T12" fmla="*/ 1 w 1875"/>
                  <a:gd name="T13" fmla="*/ 1 h 3187"/>
                  <a:gd name="T14" fmla="*/ 1 w 1875"/>
                  <a:gd name="T15" fmla="*/ 1 h 3187"/>
                  <a:gd name="T16" fmla="*/ 1 w 1875"/>
                  <a:gd name="T17" fmla="*/ 1 h 3187"/>
                  <a:gd name="T18" fmla="*/ 1 w 1875"/>
                  <a:gd name="T19" fmla="*/ 1 h 3187"/>
                  <a:gd name="T20" fmla="*/ 1 w 1875"/>
                  <a:gd name="T21" fmla="*/ 1 h 3187"/>
                  <a:gd name="T22" fmla="*/ 1 w 1875"/>
                  <a:gd name="T23" fmla="*/ 1 h 3187"/>
                  <a:gd name="T24" fmla="*/ 1 w 1875"/>
                  <a:gd name="T25" fmla="*/ 1 h 3187"/>
                  <a:gd name="T26" fmla="*/ 1 w 1875"/>
                  <a:gd name="T27" fmla="*/ 1 h 3187"/>
                  <a:gd name="T28" fmla="*/ 1 w 1875"/>
                  <a:gd name="T29" fmla="*/ 1 h 3187"/>
                  <a:gd name="T30" fmla="*/ 1 w 1875"/>
                  <a:gd name="T31" fmla="*/ 1 h 3187"/>
                  <a:gd name="T32" fmla="*/ 1 w 1875"/>
                  <a:gd name="T33" fmla="*/ 1 h 3187"/>
                  <a:gd name="T34" fmla="*/ 1 w 1875"/>
                  <a:gd name="T35" fmla="*/ 1 h 3187"/>
                  <a:gd name="T36" fmla="*/ 1 w 1875"/>
                  <a:gd name="T37" fmla="*/ 1 h 3187"/>
                  <a:gd name="T38" fmla="*/ 1 w 1875"/>
                  <a:gd name="T39" fmla="*/ 1 h 3187"/>
                  <a:gd name="T40" fmla="*/ 1 w 1875"/>
                  <a:gd name="T41" fmla="*/ 1 h 3187"/>
                  <a:gd name="T42" fmla="*/ 1 w 1875"/>
                  <a:gd name="T43" fmla="*/ 1 h 3187"/>
                  <a:gd name="T44" fmla="*/ 1 w 1875"/>
                  <a:gd name="T45" fmla="*/ 1 h 3187"/>
                  <a:gd name="T46" fmla="*/ 1 w 1875"/>
                  <a:gd name="T47" fmla="*/ 1 h 3187"/>
                  <a:gd name="T48" fmla="*/ 1 w 1875"/>
                  <a:gd name="T49" fmla="*/ 1 h 31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875"/>
                  <a:gd name="T76" fmla="*/ 0 h 3187"/>
                  <a:gd name="T77" fmla="*/ 1875 w 1875"/>
                  <a:gd name="T78" fmla="*/ 3187 h 31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875" h="3187">
                    <a:moveTo>
                      <a:pt x="157" y="1535"/>
                    </a:moveTo>
                    <a:cubicBezTo>
                      <a:pt x="160" y="1666"/>
                      <a:pt x="147" y="1762"/>
                      <a:pt x="138" y="1887"/>
                    </a:cubicBezTo>
                    <a:cubicBezTo>
                      <a:pt x="129" y="2012"/>
                      <a:pt x="116" y="2177"/>
                      <a:pt x="104" y="2285"/>
                    </a:cubicBezTo>
                    <a:cubicBezTo>
                      <a:pt x="92" y="2393"/>
                      <a:pt x="81" y="2443"/>
                      <a:pt x="64" y="2538"/>
                    </a:cubicBezTo>
                    <a:cubicBezTo>
                      <a:pt x="47" y="2633"/>
                      <a:pt x="2" y="2779"/>
                      <a:pt x="1" y="2853"/>
                    </a:cubicBezTo>
                    <a:cubicBezTo>
                      <a:pt x="0" y="2927"/>
                      <a:pt x="25" y="2954"/>
                      <a:pt x="60" y="2985"/>
                    </a:cubicBezTo>
                    <a:cubicBezTo>
                      <a:pt x="95" y="3016"/>
                      <a:pt x="124" y="3020"/>
                      <a:pt x="214" y="3041"/>
                    </a:cubicBezTo>
                    <a:cubicBezTo>
                      <a:pt x="304" y="3062"/>
                      <a:pt x="430" y="3087"/>
                      <a:pt x="603" y="3110"/>
                    </a:cubicBezTo>
                    <a:cubicBezTo>
                      <a:pt x="776" y="3133"/>
                      <a:pt x="1093" y="3187"/>
                      <a:pt x="1251" y="3180"/>
                    </a:cubicBezTo>
                    <a:cubicBezTo>
                      <a:pt x="1409" y="3173"/>
                      <a:pt x="1474" y="3147"/>
                      <a:pt x="1551" y="3066"/>
                    </a:cubicBezTo>
                    <a:cubicBezTo>
                      <a:pt x="1628" y="2985"/>
                      <a:pt x="1667" y="2847"/>
                      <a:pt x="1714" y="2693"/>
                    </a:cubicBezTo>
                    <a:cubicBezTo>
                      <a:pt x="1761" y="2539"/>
                      <a:pt x="1803" y="2329"/>
                      <a:pt x="1830" y="2144"/>
                    </a:cubicBezTo>
                    <a:cubicBezTo>
                      <a:pt x="1857" y="1959"/>
                      <a:pt x="1875" y="1772"/>
                      <a:pt x="1875" y="1580"/>
                    </a:cubicBezTo>
                    <a:cubicBezTo>
                      <a:pt x="1875" y="1388"/>
                      <a:pt x="1855" y="1165"/>
                      <a:pt x="1832" y="994"/>
                    </a:cubicBezTo>
                    <a:cubicBezTo>
                      <a:pt x="1809" y="823"/>
                      <a:pt x="1778" y="694"/>
                      <a:pt x="1736" y="553"/>
                    </a:cubicBezTo>
                    <a:cubicBezTo>
                      <a:pt x="1694" y="412"/>
                      <a:pt x="1653" y="236"/>
                      <a:pt x="1578" y="146"/>
                    </a:cubicBezTo>
                    <a:cubicBezTo>
                      <a:pt x="1503" y="56"/>
                      <a:pt x="1444" y="22"/>
                      <a:pt x="1284" y="11"/>
                    </a:cubicBezTo>
                    <a:cubicBezTo>
                      <a:pt x="1124" y="0"/>
                      <a:pt x="799" y="56"/>
                      <a:pt x="615" y="81"/>
                    </a:cubicBezTo>
                    <a:cubicBezTo>
                      <a:pt x="431" y="106"/>
                      <a:pt x="274" y="134"/>
                      <a:pt x="180" y="159"/>
                    </a:cubicBezTo>
                    <a:cubicBezTo>
                      <a:pt x="86" y="184"/>
                      <a:pt x="76" y="199"/>
                      <a:pt x="49" y="230"/>
                    </a:cubicBezTo>
                    <a:cubicBezTo>
                      <a:pt x="22" y="261"/>
                      <a:pt x="14" y="289"/>
                      <a:pt x="15" y="344"/>
                    </a:cubicBezTo>
                    <a:cubicBezTo>
                      <a:pt x="16" y="399"/>
                      <a:pt x="38" y="474"/>
                      <a:pt x="54" y="560"/>
                    </a:cubicBezTo>
                    <a:cubicBezTo>
                      <a:pt x="70" y="646"/>
                      <a:pt x="93" y="751"/>
                      <a:pt x="108" y="858"/>
                    </a:cubicBezTo>
                    <a:cubicBezTo>
                      <a:pt x="123" y="965"/>
                      <a:pt x="133" y="1092"/>
                      <a:pt x="141" y="1205"/>
                    </a:cubicBezTo>
                    <a:cubicBezTo>
                      <a:pt x="149" y="1318"/>
                      <a:pt x="154" y="1466"/>
                      <a:pt x="157" y="153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6" name="Freeform 36"/>
              <p:cNvSpPr>
                <a:spLocks noChangeAspect="1"/>
              </p:cNvSpPr>
              <p:nvPr/>
            </p:nvSpPr>
            <p:spPr bwMode="auto">
              <a:xfrm>
                <a:off x="204" y="1260"/>
                <a:ext cx="79" cy="1358"/>
              </a:xfrm>
              <a:custGeom>
                <a:avLst/>
                <a:gdLst>
                  <a:gd name="T0" fmla="*/ 1 w 132"/>
                  <a:gd name="T1" fmla="*/ 1 h 2324"/>
                  <a:gd name="T2" fmla="*/ 1 w 132"/>
                  <a:gd name="T3" fmla="*/ 1 h 2324"/>
                  <a:gd name="T4" fmla="*/ 0 w 132"/>
                  <a:gd name="T5" fmla="*/ 1 h 2324"/>
                  <a:gd name="T6" fmla="*/ 1 w 132"/>
                  <a:gd name="T7" fmla="*/ 1 h 2324"/>
                  <a:gd name="T8" fmla="*/ 1 w 132"/>
                  <a:gd name="T9" fmla="*/ 0 h 2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2"/>
                  <a:gd name="T16" fmla="*/ 0 h 2324"/>
                  <a:gd name="T17" fmla="*/ 132 w 132"/>
                  <a:gd name="T18" fmla="*/ 2324 h 23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2" h="2324">
                    <a:moveTo>
                      <a:pt x="132" y="2324"/>
                    </a:moveTo>
                    <a:cubicBezTo>
                      <a:pt x="115" y="2233"/>
                      <a:pt x="54" y="1968"/>
                      <a:pt x="32" y="1776"/>
                    </a:cubicBezTo>
                    <a:cubicBezTo>
                      <a:pt x="10" y="1584"/>
                      <a:pt x="0" y="1381"/>
                      <a:pt x="0" y="1172"/>
                    </a:cubicBezTo>
                    <a:cubicBezTo>
                      <a:pt x="0" y="963"/>
                      <a:pt x="10" y="719"/>
                      <a:pt x="32" y="524"/>
                    </a:cubicBezTo>
                    <a:cubicBezTo>
                      <a:pt x="54" y="329"/>
                      <a:pt x="111" y="109"/>
                      <a:pt x="13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7" name="Freeform 37"/>
              <p:cNvSpPr>
                <a:spLocks noChangeAspect="1"/>
              </p:cNvSpPr>
              <p:nvPr/>
            </p:nvSpPr>
            <p:spPr bwMode="auto">
              <a:xfrm>
                <a:off x="454" y="1687"/>
                <a:ext cx="48" cy="502"/>
              </a:xfrm>
              <a:custGeom>
                <a:avLst/>
                <a:gdLst>
                  <a:gd name="T0" fmla="*/ 0 w 80"/>
                  <a:gd name="T1" fmla="*/ 1 h 876"/>
                  <a:gd name="T2" fmla="*/ 1 w 80"/>
                  <a:gd name="T3" fmla="*/ 1 h 876"/>
                  <a:gd name="T4" fmla="*/ 1 w 80"/>
                  <a:gd name="T5" fmla="*/ 1 h 876"/>
                  <a:gd name="T6" fmla="*/ 1 w 80"/>
                  <a:gd name="T7" fmla="*/ 0 h 87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0"/>
                  <a:gd name="T13" fmla="*/ 0 h 876"/>
                  <a:gd name="T14" fmla="*/ 80 w 80"/>
                  <a:gd name="T15" fmla="*/ 876 h 87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0" h="876">
                    <a:moveTo>
                      <a:pt x="0" y="876"/>
                    </a:moveTo>
                    <a:lnTo>
                      <a:pt x="76" y="854"/>
                    </a:lnTo>
                    <a:lnTo>
                      <a:pt x="80" y="22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8" name="Freeform 38"/>
              <p:cNvSpPr>
                <a:spLocks noChangeAspect="1"/>
              </p:cNvSpPr>
              <p:nvPr/>
            </p:nvSpPr>
            <p:spPr bwMode="auto">
              <a:xfrm>
                <a:off x="756" y="240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09" name="Freeform 39"/>
              <p:cNvSpPr>
                <a:spLocks noChangeAspect="1"/>
              </p:cNvSpPr>
              <p:nvPr/>
            </p:nvSpPr>
            <p:spPr bwMode="auto">
              <a:xfrm>
                <a:off x="4411" y="2377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0" name="Freeform 40"/>
              <p:cNvSpPr>
                <a:spLocks noChangeAspect="1"/>
              </p:cNvSpPr>
              <p:nvPr/>
            </p:nvSpPr>
            <p:spPr bwMode="auto">
              <a:xfrm>
                <a:off x="4229" y="2868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1" name="Freeform 41"/>
              <p:cNvSpPr>
                <a:spLocks noChangeAspect="1"/>
              </p:cNvSpPr>
              <p:nvPr/>
            </p:nvSpPr>
            <p:spPr bwMode="auto">
              <a:xfrm>
                <a:off x="5001" y="2523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2" name="Freeform 42"/>
              <p:cNvSpPr>
                <a:spLocks noChangeAspect="1"/>
              </p:cNvSpPr>
              <p:nvPr/>
            </p:nvSpPr>
            <p:spPr bwMode="auto">
              <a:xfrm>
                <a:off x="4973" y="2379"/>
                <a:ext cx="617" cy="657"/>
              </a:xfrm>
              <a:custGeom>
                <a:avLst/>
                <a:gdLst>
                  <a:gd name="T0" fmla="*/ 1 w 1038"/>
                  <a:gd name="T1" fmla="*/ 0 h 1102"/>
                  <a:gd name="T2" fmla="*/ 1 w 1038"/>
                  <a:gd name="T3" fmla="*/ 1 h 1102"/>
                  <a:gd name="T4" fmla="*/ 1 w 1038"/>
                  <a:gd name="T5" fmla="*/ 1 h 1102"/>
                  <a:gd name="T6" fmla="*/ 1 w 1038"/>
                  <a:gd name="T7" fmla="*/ 1 h 1102"/>
                  <a:gd name="T8" fmla="*/ 1 w 1038"/>
                  <a:gd name="T9" fmla="*/ 1 h 1102"/>
                  <a:gd name="T10" fmla="*/ 0 w 1038"/>
                  <a:gd name="T11" fmla="*/ 1 h 110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8"/>
                  <a:gd name="T19" fmla="*/ 0 h 1102"/>
                  <a:gd name="T20" fmla="*/ 1038 w 1038"/>
                  <a:gd name="T21" fmla="*/ 1102 h 110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8" h="1102">
                    <a:moveTo>
                      <a:pt x="1038" y="0"/>
                    </a:moveTo>
                    <a:cubicBezTo>
                      <a:pt x="1020" y="60"/>
                      <a:pt x="978" y="245"/>
                      <a:pt x="931" y="360"/>
                    </a:cubicBezTo>
                    <a:cubicBezTo>
                      <a:pt x="884" y="475"/>
                      <a:pt x="813" y="604"/>
                      <a:pt x="754" y="690"/>
                    </a:cubicBezTo>
                    <a:cubicBezTo>
                      <a:pt x="695" y="776"/>
                      <a:pt x="650" y="822"/>
                      <a:pt x="577" y="876"/>
                    </a:cubicBezTo>
                    <a:cubicBezTo>
                      <a:pt x="504" y="930"/>
                      <a:pt x="412" y="979"/>
                      <a:pt x="316" y="1017"/>
                    </a:cubicBezTo>
                    <a:cubicBezTo>
                      <a:pt x="220" y="1055"/>
                      <a:pt x="66" y="1084"/>
                      <a:pt x="0" y="110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3" name="Freeform 43"/>
              <p:cNvSpPr>
                <a:spLocks noChangeAspect="1"/>
              </p:cNvSpPr>
              <p:nvPr/>
            </p:nvSpPr>
            <p:spPr bwMode="auto">
              <a:xfrm>
                <a:off x="5028" y="252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4" name="Freeform 44"/>
              <p:cNvSpPr>
                <a:spLocks noChangeAspect="1"/>
              </p:cNvSpPr>
              <p:nvPr/>
            </p:nvSpPr>
            <p:spPr bwMode="auto">
              <a:xfrm>
                <a:off x="3863" y="2477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5" name="Freeform 45"/>
              <p:cNvSpPr>
                <a:spLocks noChangeAspect="1"/>
              </p:cNvSpPr>
              <p:nvPr/>
            </p:nvSpPr>
            <p:spPr bwMode="auto">
              <a:xfrm>
                <a:off x="1505" y="2791"/>
                <a:ext cx="2561" cy="257"/>
              </a:xfrm>
              <a:custGeom>
                <a:avLst/>
                <a:gdLst>
                  <a:gd name="T0" fmla="*/ 1 w 4303"/>
                  <a:gd name="T1" fmla="*/ 1 h 432"/>
                  <a:gd name="T2" fmla="*/ 1 w 4303"/>
                  <a:gd name="T3" fmla="*/ 1 h 432"/>
                  <a:gd name="T4" fmla="*/ 1 w 4303"/>
                  <a:gd name="T5" fmla="*/ 1 h 432"/>
                  <a:gd name="T6" fmla="*/ 1 w 4303"/>
                  <a:gd name="T7" fmla="*/ 1 h 432"/>
                  <a:gd name="T8" fmla="*/ 1 w 4303"/>
                  <a:gd name="T9" fmla="*/ 1 h 432"/>
                  <a:gd name="T10" fmla="*/ 1 w 4303"/>
                  <a:gd name="T11" fmla="*/ 1 h 432"/>
                  <a:gd name="T12" fmla="*/ 1 w 4303"/>
                  <a:gd name="T13" fmla="*/ 1 h 432"/>
                  <a:gd name="T14" fmla="*/ 1 w 4303"/>
                  <a:gd name="T15" fmla="*/ 1 h 432"/>
                  <a:gd name="T16" fmla="*/ 1 w 4303"/>
                  <a:gd name="T17" fmla="*/ 0 h 432"/>
                  <a:gd name="T18" fmla="*/ 1 w 4303"/>
                  <a:gd name="T19" fmla="*/ 1 h 432"/>
                  <a:gd name="T20" fmla="*/ 1 w 4303"/>
                  <a:gd name="T21" fmla="*/ 1 h 432"/>
                  <a:gd name="T22" fmla="*/ 0 w 4303"/>
                  <a:gd name="T23" fmla="*/ 1 h 432"/>
                  <a:gd name="T24" fmla="*/ 1 w 4303"/>
                  <a:gd name="T25" fmla="*/ 1 h 432"/>
                  <a:gd name="T26" fmla="*/ 1 w 4303"/>
                  <a:gd name="T27" fmla="*/ 1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3"/>
                  <a:gd name="T43" fmla="*/ 0 h 432"/>
                  <a:gd name="T44" fmla="*/ 4303 w 4303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3" h="432">
                    <a:moveTo>
                      <a:pt x="4293" y="416"/>
                    </a:moveTo>
                    <a:cubicBezTo>
                      <a:pt x="4293" y="398"/>
                      <a:pt x="4303" y="338"/>
                      <a:pt x="4292" y="310"/>
                    </a:cubicBezTo>
                    <a:cubicBezTo>
                      <a:pt x="4281" y="282"/>
                      <a:pt x="4268" y="265"/>
                      <a:pt x="4229" y="249"/>
                    </a:cubicBezTo>
                    <a:cubicBezTo>
                      <a:pt x="4190" y="233"/>
                      <a:pt x="4211" y="241"/>
                      <a:pt x="4055" y="215"/>
                    </a:cubicBezTo>
                    <a:cubicBezTo>
                      <a:pt x="3899" y="189"/>
                      <a:pt x="3516" y="123"/>
                      <a:pt x="3291" y="90"/>
                    </a:cubicBezTo>
                    <a:cubicBezTo>
                      <a:pt x="3066" y="57"/>
                      <a:pt x="2919" y="32"/>
                      <a:pt x="2703" y="18"/>
                    </a:cubicBezTo>
                    <a:cubicBezTo>
                      <a:pt x="2487" y="4"/>
                      <a:pt x="2366" y="6"/>
                      <a:pt x="1993" y="3"/>
                    </a:cubicBezTo>
                    <a:cubicBezTo>
                      <a:pt x="1620" y="0"/>
                      <a:pt x="756" y="2"/>
                      <a:pt x="465" y="2"/>
                    </a:cubicBezTo>
                    <a:lnTo>
                      <a:pt x="245" y="0"/>
                    </a:lnTo>
                    <a:cubicBezTo>
                      <a:pt x="197" y="7"/>
                      <a:pt x="213" y="2"/>
                      <a:pt x="174" y="44"/>
                    </a:cubicBezTo>
                    <a:cubicBezTo>
                      <a:pt x="135" y="86"/>
                      <a:pt x="38" y="213"/>
                      <a:pt x="9" y="252"/>
                    </a:cubicBezTo>
                    <a:lnTo>
                      <a:pt x="0" y="281"/>
                    </a:lnTo>
                    <a:cubicBezTo>
                      <a:pt x="1" y="297"/>
                      <a:pt x="4" y="325"/>
                      <a:pt x="12" y="350"/>
                    </a:cubicBezTo>
                    <a:cubicBezTo>
                      <a:pt x="20" y="375"/>
                      <a:pt x="41" y="415"/>
                      <a:pt x="48" y="43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6" name="Freeform 46"/>
              <p:cNvSpPr>
                <a:spLocks noChangeAspect="1"/>
              </p:cNvSpPr>
              <p:nvPr/>
            </p:nvSpPr>
            <p:spPr bwMode="auto">
              <a:xfrm>
                <a:off x="3878" y="2898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7" name="Freeform 47"/>
              <p:cNvSpPr>
                <a:spLocks noChangeAspect="1"/>
              </p:cNvSpPr>
              <p:nvPr/>
            </p:nvSpPr>
            <p:spPr bwMode="auto">
              <a:xfrm>
                <a:off x="2812" y="2812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8" name="Freeform 48"/>
              <p:cNvSpPr>
                <a:spLocks noChangeAspect="1"/>
              </p:cNvSpPr>
              <p:nvPr/>
            </p:nvSpPr>
            <p:spPr bwMode="auto">
              <a:xfrm>
                <a:off x="2669" y="2778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19" name="Freeform 49"/>
              <p:cNvSpPr>
                <a:spLocks noChangeAspect="1"/>
              </p:cNvSpPr>
              <p:nvPr/>
            </p:nvSpPr>
            <p:spPr bwMode="auto">
              <a:xfrm>
                <a:off x="717" y="2965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0" name="Freeform 50"/>
              <p:cNvSpPr>
                <a:spLocks noChangeAspect="1"/>
              </p:cNvSpPr>
              <p:nvPr/>
            </p:nvSpPr>
            <p:spPr bwMode="auto">
              <a:xfrm>
                <a:off x="1812" y="281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1" name="Freeform 51"/>
              <p:cNvSpPr>
                <a:spLocks noChangeAspect="1"/>
              </p:cNvSpPr>
              <p:nvPr/>
            </p:nvSpPr>
            <p:spPr bwMode="auto">
              <a:xfrm>
                <a:off x="519" y="2823"/>
                <a:ext cx="1585" cy="145"/>
              </a:xfrm>
              <a:custGeom>
                <a:avLst/>
                <a:gdLst>
                  <a:gd name="T0" fmla="*/ 1 w 2662"/>
                  <a:gd name="T1" fmla="*/ 1 h 244"/>
                  <a:gd name="T2" fmla="*/ 1 w 2662"/>
                  <a:gd name="T3" fmla="*/ 1 h 244"/>
                  <a:gd name="T4" fmla="*/ 1 w 2662"/>
                  <a:gd name="T5" fmla="*/ 1 h 244"/>
                  <a:gd name="T6" fmla="*/ 1 w 2662"/>
                  <a:gd name="T7" fmla="*/ 1 h 244"/>
                  <a:gd name="T8" fmla="*/ 1 w 2662"/>
                  <a:gd name="T9" fmla="*/ 1 h 244"/>
                  <a:gd name="T10" fmla="*/ 0 w 2662"/>
                  <a:gd name="T11" fmla="*/ 0 h 2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62"/>
                  <a:gd name="T19" fmla="*/ 0 h 244"/>
                  <a:gd name="T20" fmla="*/ 2662 w 2662"/>
                  <a:gd name="T21" fmla="*/ 244 h 2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62" h="244">
                    <a:moveTo>
                      <a:pt x="2662" y="244"/>
                    </a:moveTo>
                    <a:cubicBezTo>
                      <a:pt x="2559" y="241"/>
                      <a:pt x="2314" y="231"/>
                      <a:pt x="2042" y="228"/>
                    </a:cubicBezTo>
                    <a:cubicBezTo>
                      <a:pt x="1770" y="225"/>
                      <a:pt x="1303" y="239"/>
                      <a:pt x="1028" y="224"/>
                    </a:cubicBezTo>
                    <a:cubicBezTo>
                      <a:pt x="753" y="209"/>
                      <a:pt x="541" y="162"/>
                      <a:pt x="392" y="136"/>
                    </a:cubicBezTo>
                    <a:cubicBezTo>
                      <a:pt x="243" y="110"/>
                      <a:pt x="197" y="93"/>
                      <a:pt x="132" y="70"/>
                    </a:cubicBezTo>
                    <a:cubicBezTo>
                      <a:pt x="67" y="47"/>
                      <a:pt x="27" y="15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2" name="Freeform 52"/>
              <p:cNvSpPr>
                <a:spLocks noChangeAspect="1"/>
              </p:cNvSpPr>
              <p:nvPr/>
            </p:nvSpPr>
            <p:spPr bwMode="auto">
              <a:xfrm>
                <a:off x="1635" y="2811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3" name="Freeform 53"/>
              <p:cNvSpPr>
                <a:spLocks noChangeAspect="1"/>
              </p:cNvSpPr>
              <p:nvPr/>
            </p:nvSpPr>
            <p:spPr bwMode="auto">
              <a:xfrm>
                <a:off x="793" y="2794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4" name="Freeform 54"/>
              <p:cNvSpPr>
                <a:spLocks noChangeAspect="1"/>
              </p:cNvSpPr>
              <p:nvPr/>
            </p:nvSpPr>
            <p:spPr bwMode="auto">
              <a:xfrm>
                <a:off x="281" y="2619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5" name="Freeform 55"/>
              <p:cNvSpPr>
                <a:spLocks noChangeAspect="1"/>
              </p:cNvSpPr>
              <p:nvPr/>
            </p:nvSpPr>
            <p:spPr bwMode="auto">
              <a:xfrm>
                <a:off x="415" y="2890"/>
                <a:ext cx="88" cy="31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6" name="Freeform 56"/>
              <p:cNvSpPr>
                <a:spLocks noChangeAspect="1"/>
              </p:cNvSpPr>
              <p:nvPr/>
            </p:nvSpPr>
            <p:spPr bwMode="auto">
              <a:xfrm>
                <a:off x="222" y="2513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7" name="Freeform 57"/>
              <p:cNvSpPr>
                <a:spLocks noChangeAspect="1"/>
              </p:cNvSpPr>
              <p:nvPr/>
            </p:nvSpPr>
            <p:spPr bwMode="auto">
              <a:xfrm>
                <a:off x="200" y="2361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28" name="Freeform 58"/>
              <p:cNvSpPr>
                <a:spLocks noChangeAspect="1"/>
              </p:cNvSpPr>
              <p:nvPr/>
            </p:nvSpPr>
            <p:spPr bwMode="auto">
              <a:xfrm flipV="1">
                <a:off x="756" y="94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29" name="Freeform 59"/>
              <p:cNvSpPr>
                <a:spLocks noChangeAspect="1"/>
              </p:cNvSpPr>
              <p:nvPr/>
            </p:nvSpPr>
            <p:spPr bwMode="auto">
              <a:xfrm flipV="1">
                <a:off x="4411" y="1015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0" name="Freeform 60"/>
              <p:cNvSpPr>
                <a:spLocks noChangeAspect="1"/>
              </p:cNvSpPr>
              <p:nvPr/>
            </p:nvSpPr>
            <p:spPr bwMode="auto">
              <a:xfrm flipV="1">
                <a:off x="4229" y="937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1" name="Freeform 61"/>
              <p:cNvSpPr>
                <a:spLocks noChangeAspect="1"/>
              </p:cNvSpPr>
              <p:nvPr/>
            </p:nvSpPr>
            <p:spPr bwMode="auto">
              <a:xfrm flipV="1">
                <a:off x="5001" y="884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2" name="Freeform 62"/>
              <p:cNvSpPr>
                <a:spLocks noChangeAspect="1"/>
              </p:cNvSpPr>
              <p:nvPr/>
            </p:nvSpPr>
            <p:spPr bwMode="auto">
              <a:xfrm>
                <a:off x="4973" y="845"/>
                <a:ext cx="616" cy="651"/>
              </a:xfrm>
              <a:custGeom>
                <a:avLst/>
                <a:gdLst>
                  <a:gd name="T0" fmla="*/ 581776 w 529"/>
                  <a:gd name="T1" fmla="*/ 669570 h 558"/>
                  <a:gd name="T2" fmla="*/ 523085 w 529"/>
                  <a:gd name="T3" fmla="*/ 455208 h 558"/>
                  <a:gd name="T4" fmla="*/ 423919 w 529"/>
                  <a:gd name="T5" fmla="*/ 252685 h 558"/>
                  <a:gd name="T6" fmla="*/ 325279 w 529"/>
                  <a:gd name="T7" fmla="*/ 137059 h 558"/>
                  <a:gd name="T8" fmla="*/ 177637 w 529"/>
                  <a:gd name="T9" fmla="*/ 50786 h 558"/>
                  <a:gd name="T10" fmla="*/ 0 w 529"/>
                  <a:gd name="T11" fmla="*/ 0 h 5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9"/>
                  <a:gd name="T19" fmla="*/ 0 h 558"/>
                  <a:gd name="T20" fmla="*/ 529 w 529"/>
                  <a:gd name="T21" fmla="*/ 558 h 5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9" h="558">
                    <a:moveTo>
                      <a:pt x="529" y="558"/>
                    </a:moveTo>
                    <a:cubicBezTo>
                      <a:pt x="520" y="528"/>
                      <a:pt x="499" y="437"/>
                      <a:pt x="475" y="379"/>
                    </a:cubicBezTo>
                    <a:cubicBezTo>
                      <a:pt x="451" y="321"/>
                      <a:pt x="415" y="254"/>
                      <a:pt x="385" y="210"/>
                    </a:cubicBezTo>
                    <a:cubicBezTo>
                      <a:pt x="355" y="167"/>
                      <a:pt x="332" y="143"/>
                      <a:pt x="295" y="115"/>
                    </a:cubicBezTo>
                    <a:cubicBezTo>
                      <a:pt x="257" y="88"/>
                      <a:pt x="210" y="63"/>
                      <a:pt x="161" y="43"/>
                    </a:cubicBezTo>
                    <a:cubicBezTo>
                      <a:pt x="112" y="24"/>
                      <a:pt x="34" y="9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3" name="Freeform 63"/>
              <p:cNvSpPr>
                <a:spLocks noChangeAspect="1"/>
              </p:cNvSpPr>
              <p:nvPr/>
            </p:nvSpPr>
            <p:spPr bwMode="auto">
              <a:xfrm flipV="1">
                <a:off x="5028" y="88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4" name="Freeform 64"/>
              <p:cNvSpPr>
                <a:spLocks noChangeAspect="1"/>
              </p:cNvSpPr>
              <p:nvPr/>
            </p:nvSpPr>
            <p:spPr bwMode="auto">
              <a:xfrm flipV="1">
                <a:off x="3863" y="866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5" name="Freeform 65"/>
              <p:cNvSpPr>
                <a:spLocks noChangeAspect="1"/>
              </p:cNvSpPr>
              <p:nvPr/>
            </p:nvSpPr>
            <p:spPr bwMode="auto">
              <a:xfrm>
                <a:off x="1505" y="834"/>
                <a:ext cx="2559" cy="257"/>
              </a:xfrm>
              <a:custGeom>
                <a:avLst/>
                <a:gdLst>
                  <a:gd name="T0" fmla="*/ 1 w 4302"/>
                  <a:gd name="T1" fmla="*/ 1 h 432"/>
                  <a:gd name="T2" fmla="*/ 1 w 4302"/>
                  <a:gd name="T3" fmla="*/ 1 h 432"/>
                  <a:gd name="T4" fmla="*/ 1 w 4302"/>
                  <a:gd name="T5" fmla="*/ 1 h 432"/>
                  <a:gd name="T6" fmla="*/ 1 w 4302"/>
                  <a:gd name="T7" fmla="*/ 1 h 432"/>
                  <a:gd name="T8" fmla="*/ 1 w 4302"/>
                  <a:gd name="T9" fmla="*/ 1 h 432"/>
                  <a:gd name="T10" fmla="*/ 1 w 4302"/>
                  <a:gd name="T11" fmla="*/ 1 h 432"/>
                  <a:gd name="T12" fmla="*/ 1 w 4302"/>
                  <a:gd name="T13" fmla="*/ 1 h 432"/>
                  <a:gd name="T14" fmla="*/ 1 w 4302"/>
                  <a:gd name="T15" fmla="*/ 1 h 432"/>
                  <a:gd name="T16" fmla="*/ 1 w 4302"/>
                  <a:gd name="T17" fmla="*/ 1 h 432"/>
                  <a:gd name="T18" fmla="*/ 1 w 4302"/>
                  <a:gd name="T19" fmla="*/ 1 h 432"/>
                  <a:gd name="T20" fmla="*/ 1 w 4302"/>
                  <a:gd name="T21" fmla="*/ 1 h 432"/>
                  <a:gd name="T22" fmla="*/ 0 w 4302"/>
                  <a:gd name="T23" fmla="*/ 1 h 432"/>
                  <a:gd name="T24" fmla="*/ 1 w 4302"/>
                  <a:gd name="T25" fmla="*/ 1 h 432"/>
                  <a:gd name="T26" fmla="*/ 1 w 4302"/>
                  <a:gd name="T27" fmla="*/ 0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2"/>
                  <a:gd name="T43" fmla="*/ 0 h 432"/>
                  <a:gd name="T44" fmla="*/ 4302 w 4302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2" h="432">
                    <a:moveTo>
                      <a:pt x="4289" y="15"/>
                    </a:moveTo>
                    <a:cubicBezTo>
                      <a:pt x="4289" y="33"/>
                      <a:pt x="4302" y="94"/>
                      <a:pt x="4292" y="122"/>
                    </a:cubicBezTo>
                    <a:cubicBezTo>
                      <a:pt x="4282" y="150"/>
                      <a:pt x="4268" y="167"/>
                      <a:pt x="4229" y="183"/>
                    </a:cubicBezTo>
                    <a:cubicBezTo>
                      <a:pt x="4190" y="199"/>
                      <a:pt x="4211" y="191"/>
                      <a:pt x="4055" y="217"/>
                    </a:cubicBezTo>
                    <a:cubicBezTo>
                      <a:pt x="3899" y="243"/>
                      <a:pt x="3516" y="309"/>
                      <a:pt x="3291" y="342"/>
                    </a:cubicBezTo>
                    <a:cubicBezTo>
                      <a:pt x="3066" y="375"/>
                      <a:pt x="2919" y="400"/>
                      <a:pt x="2703" y="414"/>
                    </a:cubicBezTo>
                    <a:cubicBezTo>
                      <a:pt x="2487" y="428"/>
                      <a:pt x="2366" y="426"/>
                      <a:pt x="1993" y="429"/>
                    </a:cubicBezTo>
                    <a:cubicBezTo>
                      <a:pt x="1620" y="432"/>
                      <a:pt x="756" y="430"/>
                      <a:pt x="465" y="430"/>
                    </a:cubicBezTo>
                    <a:lnTo>
                      <a:pt x="245" y="432"/>
                    </a:lnTo>
                    <a:cubicBezTo>
                      <a:pt x="197" y="425"/>
                      <a:pt x="213" y="430"/>
                      <a:pt x="174" y="388"/>
                    </a:cubicBezTo>
                    <a:cubicBezTo>
                      <a:pt x="135" y="346"/>
                      <a:pt x="38" y="219"/>
                      <a:pt x="9" y="180"/>
                    </a:cubicBezTo>
                    <a:lnTo>
                      <a:pt x="0" y="151"/>
                    </a:lnTo>
                    <a:cubicBezTo>
                      <a:pt x="1" y="135"/>
                      <a:pt x="4" y="107"/>
                      <a:pt x="12" y="82"/>
                    </a:cubicBezTo>
                    <a:cubicBezTo>
                      <a:pt x="20" y="57"/>
                      <a:pt x="41" y="17"/>
                      <a:pt x="48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36" name="Freeform 66"/>
              <p:cNvSpPr>
                <a:spLocks noChangeAspect="1"/>
              </p:cNvSpPr>
              <p:nvPr/>
            </p:nvSpPr>
            <p:spPr bwMode="auto">
              <a:xfrm flipV="1">
                <a:off x="3878" y="910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7" name="Freeform 67"/>
              <p:cNvSpPr>
                <a:spLocks noChangeAspect="1"/>
              </p:cNvSpPr>
              <p:nvPr/>
            </p:nvSpPr>
            <p:spPr bwMode="auto">
              <a:xfrm flipV="1">
                <a:off x="2812" y="929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8" name="Freeform 68"/>
              <p:cNvSpPr>
                <a:spLocks noChangeAspect="1"/>
              </p:cNvSpPr>
              <p:nvPr/>
            </p:nvSpPr>
            <p:spPr bwMode="auto">
              <a:xfrm flipV="1">
                <a:off x="2669" y="843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39" name="Freeform 69"/>
              <p:cNvSpPr>
                <a:spLocks noChangeAspect="1"/>
              </p:cNvSpPr>
              <p:nvPr/>
            </p:nvSpPr>
            <p:spPr bwMode="auto">
              <a:xfrm flipV="1">
                <a:off x="717" y="860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0" name="Freeform 70"/>
              <p:cNvSpPr>
                <a:spLocks noChangeAspect="1"/>
              </p:cNvSpPr>
              <p:nvPr/>
            </p:nvSpPr>
            <p:spPr bwMode="auto">
              <a:xfrm flipV="1">
                <a:off x="1812" y="93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1" name="Freeform 71"/>
              <p:cNvSpPr>
                <a:spLocks noChangeAspect="1"/>
              </p:cNvSpPr>
              <p:nvPr/>
            </p:nvSpPr>
            <p:spPr bwMode="auto">
              <a:xfrm>
                <a:off x="511" y="914"/>
                <a:ext cx="1593" cy="153"/>
              </a:xfrm>
              <a:custGeom>
                <a:avLst/>
                <a:gdLst>
                  <a:gd name="T0" fmla="*/ 1 w 2676"/>
                  <a:gd name="T1" fmla="*/ 0 h 257"/>
                  <a:gd name="T2" fmla="*/ 1 w 2676"/>
                  <a:gd name="T3" fmla="*/ 1 h 257"/>
                  <a:gd name="T4" fmla="*/ 1 w 2676"/>
                  <a:gd name="T5" fmla="*/ 1 h 257"/>
                  <a:gd name="T6" fmla="*/ 1 w 2676"/>
                  <a:gd name="T7" fmla="*/ 1 h 257"/>
                  <a:gd name="T8" fmla="*/ 1 w 2676"/>
                  <a:gd name="T9" fmla="*/ 1 h 257"/>
                  <a:gd name="T10" fmla="*/ 0 w 2676"/>
                  <a:gd name="T11" fmla="*/ 1 h 2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76"/>
                  <a:gd name="T19" fmla="*/ 0 h 257"/>
                  <a:gd name="T20" fmla="*/ 2676 w 2676"/>
                  <a:gd name="T21" fmla="*/ 257 h 25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76" h="257">
                    <a:moveTo>
                      <a:pt x="2676" y="0"/>
                    </a:moveTo>
                    <a:cubicBezTo>
                      <a:pt x="2573" y="3"/>
                      <a:pt x="2328" y="13"/>
                      <a:pt x="2056" y="16"/>
                    </a:cubicBezTo>
                    <a:cubicBezTo>
                      <a:pt x="1784" y="19"/>
                      <a:pt x="1317" y="5"/>
                      <a:pt x="1042" y="20"/>
                    </a:cubicBezTo>
                    <a:cubicBezTo>
                      <a:pt x="767" y="35"/>
                      <a:pt x="555" y="82"/>
                      <a:pt x="406" y="108"/>
                    </a:cubicBezTo>
                    <a:cubicBezTo>
                      <a:pt x="257" y="134"/>
                      <a:pt x="214" y="149"/>
                      <a:pt x="146" y="174"/>
                    </a:cubicBezTo>
                    <a:cubicBezTo>
                      <a:pt x="78" y="199"/>
                      <a:pt x="30" y="240"/>
                      <a:pt x="0" y="25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2" name="Freeform 72"/>
              <p:cNvSpPr>
                <a:spLocks noChangeAspect="1"/>
              </p:cNvSpPr>
              <p:nvPr/>
            </p:nvSpPr>
            <p:spPr bwMode="auto">
              <a:xfrm flipV="1">
                <a:off x="1635" y="942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3" name="Freeform 73"/>
              <p:cNvSpPr>
                <a:spLocks noChangeAspect="1"/>
              </p:cNvSpPr>
              <p:nvPr/>
            </p:nvSpPr>
            <p:spPr bwMode="auto">
              <a:xfrm flipV="1">
                <a:off x="793" y="941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4" name="Freeform 74"/>
              <p:cNvSpPr>
                <a:spLocks noChangeAspect="1"/>
              </p:cNvSpPr>
              <p:nvPr/>
            </p:nvSpPr>
            <p:spPr bwMode="auto">
              <a:xfrm flipV="1">
                <a:off x="283" y="852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5" name="Freeform 75"/>
              <p:cNvSpPr>
                <a:spLocks noChangeAspect="1"/>
              </p:cNvSpPr>
              <p:nvPr/>
            </p:nvSpPr>
            <p:spPr bwMode="auto">
              <a:xfrm flipV="1">
                <a:off x="415" y="957"/>
                <a:ext cx="88" cy="30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6" name="Freeform 76"/>
              <p:cNvSpPr>
                <a:spLocks noChangeAspect="1"/>
              </p:cNvSpPr>
              <p:nvPr/>
            </p:nvSpPr>
            <p:spPr bwMode="auto">
              <a:xfrm flipV="1">
                <a:off x="222" y="1279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7" name="Freeform 77"/>
              <p:cNvSpPr>
                <a:spLocks noChangeAspect="1"/>
              </p:cNvSpPr>
              <p:nvPr/>
            </p:nvSpPr>
            <p:spPr bwMode="auto">
              <a:xfrm flipV="1">
                <a:off x="200" y="1328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48" name="Freeform 78"/>
              <p:cNvSpPr>
                <a:spLocks noChangeAspect="1"/>
              </p:cNvSpPr>
              <p:nvPr/>
            </p:nvSpPr>
            <p:spPr bwMode="auto">
              <a:xfrm>
                <a:off x="3607" y="3015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49" name="Freeform 79"/>
              <p:cNvSpPr>
                <a:spLocks noChangeAspect="1"/>
              </p:cNvSpPr>
              <p:nvPr/>
            </p:nvSpPr>
            <p:spPr bwMode="auto">
              <a:xfrm>
                <a:off x="3681" y="2955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0" name="Freeform 80"/>
              <p:cNvSpPr>
                <a:spLocks noChangeAspect="1"/>
              </p:cNvSpPr>
              <p:nvPr/>
            </p:nvSpPr>
            <p:spPr bwMode="auto">
              <a:xfrm>
                <a:off x="3621" y="2965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1" name="Freeform 81"/>
              <p:cNvSpPr>
                <a:spLocks noChangeAspect="1"/>
              </p:cNvSpPr>
              <p:nvPr/>
            </p:nvSpPr>
            <p:spPr bwMode="auto">
              <a:xfrm>
                <a:off x="3754" y="2990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2" name="Freeform 82"/>
              <p:cNvSpPr>
                <a:spLocks noChangeAspect="1"/>
              </p:cNvSpPr>
              <p:nvPr/>
            </p:nvSpPr>
            <p:spPr bwMode="auto">
              <a:xfrm>
                <a:off x="3699" y="2899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3" name="Freeform 83"/>
              <p:cNvSpPr>
                <a:spLocks noChangeAspect="1"/>
              </p:cNvSpPr>
              <p:nvPr/>
            </p:nvSpPr>
            <p:spPr bwMode="auto">
              <a:xfrm flipV="1">
                <a:off x="3607" y="619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4" name="Freeform 84"/>
              <p:cNvSpPr>
                <a:spLocks noChangeAspect="1"/>
              </p:cNvSpPr>
              <p:nvPr/>
            </p:nvSpPr>
            <p:spPr bwMode="auto">
              <a:xfrm flipV="1">
                <a:off x="3681" y="627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5" name="Freeform 85"/>
              <p:cNvSpPr>
                <a:spLocks noChangeAspect="1"/>
              </p:cNvSpPr>
              <p:nvPr/>
            </p:nvSpPr>
            <p:spPr bwMode="auto">
              <a:xfrm flipV="1">
                <a:off x="3621" y="632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6" name="Freeform 86"/>
              <p:cNvSpPr>
                <a:spLocks noChangeAspect="1"/>
              </p:cNvSpPr>
              <p:nvPr/>
            </p:nvSpPr>
            <p:spPr bwMode="auto">
              <a:xfrm flipV="1">
                <a:off x="3754" y="884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7" name="Freeform 87"/>
              <p:cNvSpPr>
                <a:spLocks noChangeAspect="1"/>
              </p:cNvSpPr>
              <p:nvPr/>
            </p:nvSpPr>
            <p:spPr bwMode="auto">
              <a:xfrm flipV="1">
                <a:off x="3699" y="914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58" name="Freeform 88"/>
              <p:cNvSpPr>
                <a:spLocks noChangeAspect="1"/>
              </p:cNvSpPr>
              <p:nvPr/>
            </p:nvSpPr>
            <p:spPr bwMode="auto">
              <a:xfrm>
                <a:off x="2897" y="2648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59" name="Freeform 89"/>
              <p:cNvSpPr>
                <a:spLocks noChangeAspect="1"/>
              </p:cNvSpPr>
              <p:nvPr/>
            </p:nvSpPr>
            <p:spPr bwMode="auto">
              <a:xfrm>
                <a:off x="2903" y="2564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0" name="Freeform 90"/>
              <p:cNvSpPr>
                <a:spLocks noChangeAspect="1"/>
              </p:cNvSpPr>
              <p:nvPr/>
            </p:nvSpPr>
            <p:spPr bwMode="auto">
              <a:xfrm>
                <a:off x="2862" y="2551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1" name="Freeform 91"/>
              <p:cNvSpPr>
                <a:spLocks noChangeAspect="1"/>
              </p:cNvSpPr>
              <p:nvPr/>
            </p:nvSpPr>
            <p:spPr bwMode="auto">
              <a:xfrm>
                <a:off x="2869" y="2548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2" name="Freeform 92"/>
              <p:cNvSpPr>
                <a:spLocks noChangeAspect="1"/>
              </p:cNvSpPr>
              <p:nvPr/>
            </p:nvSpPr>
            <p:spPr bwMode="auto">
              <a:xfrm>
                <a:off x="2867" y="2679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3" name="Freeform 93"/>
              <p:cNvSpPr>
                <a:spLocks noChangeAspect="1"/>
              </p:cNvSpPr>
              <p:nvPr/>
            </p:nvSpPr>
            <p:spPr bwMode="auto">
              <a:xfrm>
                <a:off x="760" y="2645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4" name="Freeform 94"/>
              <p:cNvSpPr>
                <a:spLocks noChangeAspect="1"/>
              </p:cNvSpPr>
              <p:nvPr/>
            </p:nvSpPr>
            <p:spPr bwMode="auto">
              <a:xfrm>
                <a:off x="759" y="2556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5" name="Freeform 95"/>
              <p:cNvSpPr>
                <a:spLocks noChangeAspect="1"/>
              </p:cNvSpPr>
              <p:nvPr/>
            </p:nvSpPr>
            <p:spPr bwMode="auto">
              <a:xfrm>
                <a:off x="760" y="2567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6" name="Freeform 96"/>
              <p:cNvSpPr>
                <a:spLocks noChangeAspect="1"/>
              </p:cNvSpPr>
              <p:nvPr/>
            </p:nvSpPr>
            <p:spPr bwMode="auto">
              <a:xfrm>
                <a:off x="760" y="2624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7" name="Freeform 97"/>
              <p:cNvSpPr>
                <a:spLocks noChangeAspect="1"/>
              </p:cNvSpPr>
              <p:nvPr/>
            </p:nvSpPr>
            <p:spPr bwMode="auto">
              <a:xfrm>
                <a:off x="996" y="2557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8" name="Line 98"/>
              <p:cNvSpPr>
                <a:spLocks noChangeAspect="1" noChangeShapeType="1"/>
              </p:cNvSpPr>
              <p:nvPr/>
            </p:nvSpPr>
            <p:spPr bwMode="auto">
              <a:xfrm>
                <a:off x="1000" y="2586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69" name="Line 99"/>
              <p:cNvSpPr>
                <a:spLocks noChangeAspect="1" noChangeShapeType="1"/>
              </p:cNvSpPr>
              <p:nvPr/>
            </p:nvSpPr>
            <p:spPr bwMode="auto">
              <a:xfrm>
                <a:off x="999" y="2618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70" name="Line 100"/>
              <p:cNvSpPr>
                <a:spLocks noChangeAspect="1" noChangeShapeType="1"/>
              </p:cNvSpPr>
              <p:nvPr/>
            </p:nvSpPr>
            <p:spPr bwMode="auto">
              <a:xfrm>
                <a:off x="1011" y="2633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71" name="Line 101"/>
              <p:cNvSpPr>
                <a:spLocks noChangeAspect="1" noChangeShapeType="1"/>
              </p:cNvSpPr>
              <p:nvPr/>
            </p:nvSpPr>
            <p:spPr bwMode="auto">
              <a:xfrm>
                <a:off x="1019" y="2572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72" name="Freeform 102"/>
              <p:cNvSpPr>
                <a:spLocks noChangeAspect="1"/>
              </p:cNvSpPr>
              <p:nvPr/>
            </p:nvSpPr>
            <p:spPr bwMode="auto">
              <a:xfrm flipV="1">
                <a:off x="2897" y="1196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3" name="Freeform 103"/>
              <p:cNvSpPr>
                <a:spLocks noChangeAspect="1"/>
              </p:cNvSpPr>
              <p:nvPr/>
            </p:nvSpPr>
            <p:spPr bwMode="auto">
              <a:xfrm flipV="1">
                <a:off x="2903" y="1289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4" name="Freeform 104"/>
              <p:cNvSpPr>
                <a:spLocks noChangeAspect="1"/>
              </p:cNvSpPr>
              <p:nvPr/>
            </p:nvSpPr>
            <p:spPr bwMode="auto">
              <a:xfrm flipV="1">
                <a:off x="2862" y="1206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5" name="Freeform 105"/>
              <p:cNvSpPr>
                <a:spLocks noChangeAspect="1"/>
              </p:cNvSpPr>
              <p:nvPr/>
            </p:nvSpPr>
            <p:spPr bwMode="auto">
              <a:xfrm flipV="1">
                <a:off x="2869" y="1320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6" name="Freeform 106"/>
              <p:cNvSpPr>
                <a:spLocks noChangeAspect="1"/>
              </p:cNvSpPr>
              <p:nvPr/>
            </p:nvSpPr>
            <p:spPr bwMode="auto">
              <a:xfrm flipV="1">
                <a:off x="2867" y="1197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7" name="Freeform 107"/>
              <p:cNvSpPr>
                <a:spLocks noChangeAspect="1"/>
              </p:cNvSpPr>
              <p:nvPr/>
            </p:nvSpPr>
            <p:spPr bwMode="auto">
              <a:xfrm flipV="1">
                <a:off x="760" y="1230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8" name="Freeform 108"/>
              <p:cNvSpPr>
                <a:spLocks noChangeAspect="1"/>
              </p:cNvSpPr>
              <p:nvPr/>
            </p:nvSpPr>
            <p:spPr bwMode="auto">
              <a:xfrm flipV="1">
                <a:off x="759" y="1317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79" name="Freeform 109"/>
              <p:cNvSpPr>
                <a:spLocks noChangeAspect="1"/>
              </p:cNvSpPr>
              <p:nvPr/>
            </p:nvSpPr>
            <p:spPr bwMode="auto">
              <a:xfrm flipV="1">
                <a:off x="760" y="1302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80" name="Freeform 110"/>
              <p:cNvSpPr>
                <a:spLocks noChangeAspect="1"/>
              </p:cNvSpPr>
              <p:nvPr/>
            </p:nvSpPr>
            <p:spPr bwMode="auto">
              <a:xfrm flipV="1">
                <a:off x="760" y="1240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81" name="Freeform 111"/>
              <p:cNvSpPr>
                <a:spLocks noChangeAspect="1"/>
              </p:cNvSpPr>
              <p:nvPr/>
            </p:nvSpPr>
            <p:spPr bwMode="auto">
              <a:xfrm flipV="1">
                <a:off x="996" y="1230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82" name="Line 112"/>
              <p:cNvSpPr>
                <a:spLocks noChangeAspect="1" noChangeShapeType="1"/>
              </p:cNvSpPr>
              <p:nvPr/>
            </p:nvSpPr>
            <p:spPr bwMode="auto">
              <a:xfrm flipV="1">
                <a:off x="1000" y="1291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3" name="Line 113"/>
              <p:cNvSpPr>
                <a:spLocks noChangeAspect="1" noChangeShapeType="1"/>
              </p:cNvSpPr>
              <p:nvPr/>
            </p:nvSpPr>
            <p:spPr bwMode="auto">
              <a:xfrm flipV="1">
                <a:off x="999" y="1259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4" name="Line 114"/>
              <p:cNvSpPr>
                <a:spLocks noChangeAspect="1" noChangeShapeType="1"/>
              </p:cNvSpPr>
              <p:nvPr/>
            </p:nvSpPr>
            <p:spPr bwMode="auto">
              <a:xfrm flipV="1">
                <a:off x="1011" y="1244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5" name="Line 115"/>
              <p:cNvSpPr>
                <a:spLocks noChangeAspect="1" noChangeShapeType="1"/>
              </p:cNvSpPr>
              <p:nvPr/>
            </p:nvSpPr>
            <p:spPr bwMode="auto">
              <a:xfrm flipV="1">
                <a:off x="1019" y="1305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6" name="Freeform 116"/>
              <p:cNvSpPr>
                <a:spLocks noChangeAspect="1"/>
              </p:cNvSpPr>
              <p:nvPr/>
            </p:nvSpPr>
            <p:spPr bwMode="auto">
              <a:xfrm>
                <a:off x="774" y="1937"/>
                <a:ext cx="205" cy="23"/>
              </a:xfrm>
              <a:custGeom>
                <a:avLst/>
                <a:gdLst>
                  <a:gd name="T0" fmla="*/ 1 w 329"/>
                  <a:gd name="T1" fmla="*/ 1 h 37"/>
                  <a:gd name="T2" fmla="*/ 1 w 329"/>
                  <a:gd name="T3" fmla="*/ 1 h 37"/>
                  <a:gd name="T4" fmla="*/ 1 w 329"/>
                  <a:gd name="T5" fmla="*/ 1 h 37"/>
                  <a:gd name="T6" fmla="*/ 1 w 329"/>
                  <a:gd name="T7" fmla="*/ 1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29"/>
                  <a:gd name="T13" fmla="*/ 0 h 37"/>
                  <a:gd name="T14" fmla="*/ 329 w 329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29" h="37">
                    <a:moveTo>
                      <a:pt x="329" y="35"/>
                    </a:moveTo>
                    <a:cubicBezTo>
                      <a:pt x="282" y="35"/>
                      <a:pt x="94" y="37"/>
                      <a:pt x="47" y="32"/>
                    </a:cubicBezTo>
                    <a:cubicBezTo>
                      <a:pt x="0" y="27"/>
                      <a:pt x="0" y="10"/>
                      <a:pt x="47" y="5"/>
                    </a:cubicBezTo>
                    <a:cubicBezTo>
                      <a:pt x="94" y="0"/>
                      <a:pt x="270" y="3"/>
                      <a:pt x="328" y="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7" name="Freeform 117"/>
              <p:cNvSpPr>
                <a:spLocks noChangeAspect="1"/>
              </p:cNvSpPr>
              <p:nvPr/>
            </p:nvSpPr>
            <p:spPr bwMode="auto">
              <a:xfrm>
                <a:off x="966" y="1904"/>
                <a:ext cx="98" cy="86"/>
              </a:xfrm>
              <a:custGeom>
                <a:avLst/>
                <a:gdLst>
                  <a:gd name="T0" fmla="*/ 0 w 157"/>
                  <a:gd name="T1" fmla="*/ 1 h 137"/>
                  <a:gd name="T2" fmla="*/ 1 w 157"/>
                  <a:gd name="T3" fmla="*/ 1 h 137"/>
                  <a:gd name="T4" fmla="*/ 1 w 157"/>
                  <a:gd name="T5" fmla="*/ 1 h 137"/>
                  <a:gd name="T6" fmla="*/ 1 w 157"/>
                  <a:gd name="T7" fmla="*/ 1 h 137"/>
                  <a:gd name="T8" fmla="*/ 1 w 157"/>
                  <a:gd name="T9" fmla="*/ 1 h 137"/>
                  <a:gd name="T10" fmla="*/ 1 w 157"/>
                  <a:gd name="T11" fmla="*/ 1 h 137"/>
                  <a:gd name="T12" fmla="*/ 1 w 157"/>
                  <a:gd name="T13" fmla="*/ 1 h 137"/>
                  <a:gd name="T14" fmla="*/ 1 w 157"/>
                  <a:gd name="T15" fmla="*/ 1 h 137"/>
                  <a:gd name="T16" fmla="*/ 1 w 157"/>
                  <a:gd name="T17" fmla="*/ 1 h 137"/>
                  <a:gd name="T18" fmla="*/ 0 w 157"/>
                  <a:gd name="T19" fmla="*/ 1 h 13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7"/>
                  <a:gd name="T31" fmla="*/ 0 h 137"/>
                  <a:gd name="T32" fmla="*/ 157 w 157"/>
                  <a:gd name="T33" fmla="*/ 137 h 13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7" h="137">
                    <a:moveTo>
                      <a:pt x="0" y="90"/>
                    </a:moveTo>
                    <a:cubicBezTo>
                      <a:pt x="2" y="93"/>
                      <a:pt x="5" y="102"/>
                      <a:pt x="11" y="107"/>
                    </a:cubicBezTo>
                    <a:cubicBezTo>
                      <a:pt x="17" y="112"/>
                      <a:pt x="31" y="114"/>
                      <a:pt x="39" y="119"/>
                    </a:cubicBezTo>
                    <a:cubicBezTo>
                      <a:pt x="47" y="124"/>
                      <a:pt x="41" y="137"/>
                      <a:pt x="57" y="135"/>
                    </a:cubicBezTo>
                    <a:cubicBezTo>
                      <a:pt x="73" y="133"/>
                      <a:pt x="124" y="121"/>
                      <a:pt x="138" y="105"/>
                    </a:cubicBezTo>
                    <a:cubicBezTo>
                      <a:pt x="152" y="89"/>
                      <a:pt x="157" y="58"/>
                      <a:pt x="143" y="41"/>
                    </a:cubicBezTo>
                    <a:cubicBezTo>
                      <a:pt x="129" y="24"/>
                      <a:pt x="74" y="6"/>
                      <a:pt x="56" y="3"/>
                    </a:cubicBezTo>
                    <a:cubicBezTo>
                      <a:pt x="38" y="0"/>
                      <a:pt x="42" y="17"/>
                      <a:pt x="35" y="23"/>
                    </a:cubicBezTo>
                    <a:cubicBezTo>
                      <a:pt x="28" y="29"/>
                      <a:pt x="17" y="33"/>
                      <a:pt x="11" y="38"/>
                    </a:cubicBezTo>
                    <a:cubicBezTo>
                      <a:pt x="5" y="43"/>
                      <a:pt x="2" y="51"/>
                      <a:pt x="0" y="5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8" name="Line 118"/>
              <p:cNvSpPr>
                <a:spLocks noChangeAspect="1" noChangeShapeType="1"/>
              </p:cNvSpPr>
              <p:nvPr/>
            </p:nvSpPr>
            <p:spPr bwMode="auto">
              <a:xfrm>
                <a:off x="981" y="1937"/>
                <a:ext cx="0" cy="21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89" name="Freeform 119"/>
              <p:cNvSpPr>
                <a:spLocks noChangeAspect="1"/>
              </p:cNvSpPr>
              <p:nvPr/>
            </p:nvSpPr>
            <p:spPr bwMode="auto">
              <a:xfrm>
                <a:off x="984" y="1915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0" name="Freeform 120"/>
              <p:cNvSpPr>
                <a:spLocks noChangeAspect="1"/>
              </p:cNvSpPr>
              <p:nvPr/>
            </p:nvSpPr>
            <p:spPr bwMode="auto">
              <a:xfrm flipV="1">
                <a:off x="984" y="1958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18591" name="Freeform 121"/>
              <p:cNvSpPr>
                <a:spLocks noChangeAspect="1"/>
              </p:cNvSpPr>
              <p:nvPr/>
            </p:nvSpPr>
            <p:spPr bwMode="auto">
              <a:xfrm>
                <a:off x="94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2" name="Freeform 122"/>
              <p:cNvSpPr>
                <a:spLocks noChangeAspect="1"/>
              </p:cNvSpPr>
              <p:nvPr/>
            </p:nvSpPr>
            <p:spPr bwMode="auto">
              <a:xfrm>
                <a:off x="91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3" name="Freeform 123"/>
              <p:cNvSpPr>
                <a:spLocks noChangeAspect="1"/>
              </p:cNvSpPr>
              <p:nvPr/>
            </p:nvSpPr>
            <p:spPr bwMode="auto">
              <a:xfrm>
                <a:off x="887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4" name="Freeform 124"/>
              <p:cNvSpPr>
                <a:spLocks noChangeAspect="1"/>
              </p:cNvSpPr>
              <p:nvPr/>
            </p:nvSpPr>
            <p:spPr bwMode="auto">
              <a:xfrm>
                <a:off x="860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5" name="Freeform 125"/>
              <p:cNvSpPr>
                <a:spLocks noChangeAspect="1"/>
              </p:cNvSpPr>
              <p:nvPr/>
            </p:nvSpPr>
            <p:spPr bwMode="auto">
              <a:xfrm>
                <a:off x="828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6" name="Freeform 126"/>
              <p:cNvSpPr>
                <a:spLocks noChangeAspect="1"/>
              </p:cNvSpPr>
              <p:nvPr/>
            </p:nvSpPr>
            <p:spPr bwMode="auto">
              <a:xfrm>
                <a:off x="803" y="1940"/>
                <a:ext cx="17" cy="17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597" name="Freeform 127"/>
              <p:cNvSpPr>
                <a:spLocks noChangeAspect="1"/>
              </p:cNvSpPr>
              <p:nvPr/>
            </p:nvSpPr>
            <p:spPr bwMode="auto">
              <a:xfrm>
                <a:off x="666" y="1224"/>
                <a:ext cx="95" cy="1429"/>
              </a:xfrm>
              <a:custGeom>
                <a:avLst/>
                <a:gdLst>
                  <a:gd name="T0" fmla="*/ 1 w 160"/>
                  <a:gd name="T1" fmla="*/ 1 h 2429"/>
                  <a:gd name="T2" fmla="*/ 1 w 160"/>
                  <a:gd name="T3" fmla="*/ 1 h 2429"/>
                  <a:gd name="T4" fmla="*/ 1 w 160"/>
                  <a:gd name="T5" fmla="*/ 1 h 2429"/>
                  <a:gd name="T6" fmla="*/ 1 w 160"/>
                  <a:gd name="T7" fmla="*/ 1 h 2429"/>
                  <a:gd name="T8" fmla="*/ 1 w 160"/>
                  <a:gd name="T9" fmla="*/ 1 h 2429"/>
                  <a:gd name="T10" fmla="*/ 1 w 160"/>
                  <a:gd name="T11" fmla="*/ 1 h 2429"/>
                  <a:gd name="T12" fmla="*/ 1 w 160"/>
                  <a:gd name="T13" fmla="*/ 1 h 24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0"/>
                  <a:gd name="T22" fmla="*/ 0 h 2429"/>
                  <a:gd name="T23" fmla="*/ 160 w 160"/>
                  <a:gd name="T24" fmla="*/ 2429 h 24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0" h="2429">
                    <a:moveTo>
                      <a:pt x="160" y="2423"/>
                    </a:moveTo>
                    <a:cubicBezTo>
                      <a:pt x="146" y="2413"/>
                      <a:pt x="100" y="2429"/>
                      <a:pt x="78" y="2365"/>
                    </a:cubicBezTo>
                    <a:cubicBezTo>
                      <a:pt x="56" y="2301"/>
                      <a:pt x="43" y="2229"/>
                      <a:pt x="30" y="2038"/>
                    </a:cubicBezTo>
                    <a:cubicBezTo>
                      <a:pt x="17" y="1847"/>
                      <a:pt x="4" y="1491"/>
                      <a:pt x="2" y="1217"/>
                    </a:cubicBezTo>
                    <a:cubicBezTo>
                      <a:pt x="0" y="943"/>
                      <a:pt x="8" y="584"/>
                      <a:pt x="21" y="392"/>
                    </a:cubicBezTo>
                    <a:cubicBezTo>
                      <a:pt x="34" y="200"/>
                      <a:pt x="55" y="130"/>
                      <a:pt x="78" y="65"/>
                    </a:cubicBezTo>
                    <a:cubicBezTo>
                      <a:pt x="101" y="0"/>
                      <a:pt x="143" y="17"/>
                      <a:pt x="160" y="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9" name="그룹 107"/>
            <p:cNvGrpSpPr>
              <a:grpSpLocks/>
            </p:cNvGrpSpPr>
            <p:nvPr/>
          </p:nvGrpSpPr>
          <p:grpSpPr bwMode="auto">
            <a:xfrm>
              <a:off x="2030116" y="4453396"/>
              <a:ext cx="279212" cy="242675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0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1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" name="그룹 107"/>
            <p:cNvGrpSpPr>
              <a:grpSpLocks/>
            </p:cNvGrpSpPr>
            <p:nvPr/>
          </p:nvGrpSpPr>
          <p:grpSpPr bwMode="auto">
            <a:xfrm rot="10800000">
              <a:off x="3898893" y="4438462"/>
              <a:ext cx="279212" cy="246408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3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4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8489" name="그룹 107"/>
            <p:cNvGrpSpPr>
              <a:grpSpLocks/>
            </p:cNvGrpSpPr>
            <p:nvPr/>
          </p:nvGrpSpPr>
          <p:grpSpPr bwMode="auto">
            <a:xfrm rot="5400000">
              <a:off x="3017029" y="3892239"/>
              <a:ext cx="362146" cy="185218"/>
              <a:chOff x="1665463" y="5157193"/>
              <a:chExt cx="407217" cy="288032"/>
            </a:xfrm>
          </p:grpSpPr>
          <p:sp>
            <p:nvSpPr>
              <p:cNvPr id="18496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18497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grpSp>
          <p:nvGrpSpPr>
            <p:cNvPr id="18490" name="그룹 107"/>
            <p:cNvGrpSpPr>
              <a:grpSpLocks/>
            </p:cNvGrpSpPr>
            <p:nvPr/>
          </p:nvGrpSpPr>
          <p:grpSpPr bwMode="auto">
            <a:xfrm rot="-5400000">
              <a:off x="3017029" y="5057075"/>
              <a:ext cx="362146" cy="185218"/>
              <a:chOff x="1665463" y="5157193"/>
              <a:chExt cx="407217" cy="288032"/>
            </a:xfrm>
          </p:grpSpPr>
          <p:sp>
            <p:nvSpPr>
              <p:cNvPr id="18494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18495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sp>
          <p:nvSpPr>
            <p:cNvPr id="18491" name="Oval 26"/>
            <p:cNvSpPr>
              <a:spLocks noChangeAspect="1" noChangeArrowheads="1"/>
            </p:cNvSpPr>
            <p:nvPr/>
          </p:nvSpPr>
          <p:spPr bwMode="auto">
            <a:xfrm rot="5400000">
              <a:off x="1143152" y="4146513"/>
              <a:ext cx="1743519" cy="826574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ot="10800000" vert="eaVert"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18492" name="Oval 129"/>
            <p:cNvSpPr>
              <a:spLocks noChangeAspect="1" noChangeArrowheads="1"/>
            </p:cNvSpPr>
            <p:nvPr/>
          </p:nvSpPr>
          <p:spPr bwMode="auto">
            <a:xfrm>
              <a:off x="2168339" y="4785674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18493" name="Oval 130"/>
            <p:cNvSpPr>
              <a:spLocks noChangeAspect="1" noChangeArrowheads="1"/>
            </p:cNvSpPr>
            <p:nvPr/>
          </p:nvSpPr>
          <p:spPr bwMode="auto">
            <a:xfrm>
              <a:off x="2168339" y="3381897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</p:grpSp>
      <p:grpSp>
        <p:nvGrpSpPr>
          <p:cNvPr id="227" name="Group 27"/>
          <p:cNvGrpSpPr>
            <a:grpSpLocks noChangeAspect="1"/>
          </p:cNvGrpSpPr>
          <p:nvPr/>
        </p:nvGrpSpPr>
        <p:grpSpPr bwMode="auto">
          <a:xfrm>
            <a:off x="4399495" y="2461506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228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29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0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1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2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3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4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5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6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7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8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39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0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1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2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3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4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5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6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7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8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49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0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1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2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3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4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5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6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7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8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59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0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1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2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3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4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5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6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7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8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69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0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1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2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3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4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5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6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7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8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79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0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1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2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3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4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5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6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7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8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89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0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1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2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3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4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5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6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7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298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299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0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1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02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3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4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5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6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7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8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09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0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1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2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3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4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5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6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7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18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319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0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1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2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3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4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5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6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27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cxnSp>
        <p:nvCxnSpPr>
          <p:cNvPr id="18439" name="직선 연결선 12287"/>
          <p:cNvCxnSpPr>
            <a:cxnSpLocks noChangeShapeType="1"/>
          </p:cNvCxnSpPr>
          <p:nvPr/>
        </p:nvCxnSpPr>
        <p:spPr bwMode="auto">
          <a:xfrm>
            <a:off x="365125" y="3157538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289" name="원호 12288"/>
          <p:cNvSpPr/>
          <p:nvPr/>
        </p:nvSpPr>
        <p:spPr bwMode="auto">
          <a:xfrm>
            <a:off x="4160838" y="3162300"/>
            <a:ext cx="3606800" cy="1527175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18441" name="직선 연결선 332"/>
          <p:cNvCxnSpPr>
            <a:cxnSpLocks noChangeShapeType="1"/>
          </p:cNvCxnSpPr>
          <p:nvPr/>
        </p:nvCxnSpPr>
        <p:spPr bwMode="auto">
          <a:xfrm>
            <a:off x="774700" y="2365375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4" name="원호 333"/>
          <p:cNvSpPr/>
          <p:nvPr/>
        </p:nvSpPr>
        <p:spPr bwMode="auto">
          <a:xfrm>
            <a:off x="4570413" y="2370138"/>
            <a:ext cx="3606800" cy="1528762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cxnSp>
        <p:nvCxnSpPr>
          <p:cNvPr id="18443" name="직선 연결선 334"/>
          <p:cNvCxnSpPr>
            <a:cxnSpLocks noChangeShapeType="1"/>
          </p:cNvCxnSpPr>
          <p:nvPr/>
        </p:nvCxnSpPr>
        <p:spPr bwMode="auto">
          <a:xfrm>
            <a:off x="1657350" y="1681163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36" name="원호 335"/>
          <p:cNvSpPr/>
          <p:nvPr/>
        </p:nvSpPr>
        <p:spPr bwMode="auto">
          <a:xfrm>
            <a:off x="5453063" y="1685925"/>
            <a:ext cx="3605212" cy="1528763"/>
          </a:xfrm>
          <a:prstGeom prst="arc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defRPr/>
            </a:pPr>
            <a:endParaRPr lang="ko-KR" altLang="en-US" dirty="0">
              <a:latin typeface="Calibri" panose="020F0502020204030204" pitchFamily="34" charset="0"/>
              <a:ea typeface="Microsoft YaHei" panose="020B0503020204020204" pitchFamily="34" charset="-122"/>
            </a:endParaRPr>
          </a:p>
        </p:txBody>
      </p:sp>
      <p:grpSp>
        <p:nvGrpSpPr>
          <p:cNvPr id="337" name="Group 27"/>
          <p:cNvGrpSpPr>
            <a:grpSpLocks noChangeAspect="1"/>
          </p:cNvGrpSpPr>
          <p:nvPr/>
        </p:nvGrpSpPr>
        <p:grpSpPr bwMode="auto">
          <a:xfrm rot="866380">
            <a:off x="7445061" y="2045738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338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39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0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1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2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3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4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5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6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7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8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49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0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1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2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3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4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5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6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7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8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59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0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1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2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3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4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5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6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7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8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69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0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1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2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3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4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5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6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7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8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79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0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1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2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3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4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5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6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7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8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89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0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1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2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3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4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5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6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7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8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399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0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1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2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3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4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5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6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7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08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09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0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1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12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3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4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5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6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7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8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19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0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1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2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3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4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5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6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7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28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429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0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1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2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3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4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5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6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37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grpSp>
        <p:nvGrpSpPr>
          <p:cNvPr id="440" name="Group 27"/>
          <p:cNvGrpSpPr>
            <a:grpSpLocks noChangeAspect="1"/>
          </p:cNvGrpSpPr>
          <p:nvPr/>
        </p:nvGrpSpPr>
        <p:grpSpPr bwMode="auto">
          <a:xfrm>
            <a:off x="2109245" y="1745963"/>
            <a:ext cx="853287" cy="504543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441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2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3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4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5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6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7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8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49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0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1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2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3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4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5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6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7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8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59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0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1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2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3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4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5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6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7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8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69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0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1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2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3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4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5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6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7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8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79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0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1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2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3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4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5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6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7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8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89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0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1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2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3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4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5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6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7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8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499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0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1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2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3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4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5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6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7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8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09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0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1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2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3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4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15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6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7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8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19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0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1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2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3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4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25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6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7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8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29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0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1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532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3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4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5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6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7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8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39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40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pic>
        <p:nvPicPr>
          <p:cNvPr id="18447" name="그림 1229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4088" y="5345113"/>
            <a:ext cx="633412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448" name="구부러진 연결선 12301"/>
          <p:cNvCxnSpPr>
            <a:cxnSpLocks noChangeShapeType="1"/>
          </p:cNvCxnSpPr>
          <p:nvPr/>
        </p:nvCxnSpPr>
        <p:spPr bwMode="auto">
          <a:xfrm rot="10800000" flipV="1">
            <a:off x="6850063" y="2312988"/>
            <a:ext cx="2649537" cy="1800225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449" name="구부러진 연결선 551"/>
          <p:cNvCxnSpPr>
            <a:cxnSpLocks noChangeShapeType="1"/>
          </p:cNvCxnSpPr>
          <p:nvPr/>
        </p:nvCxnSpPr>
        <p:spPr bwMode="auto">
          <a:xfrm rot="10800000" flipV="1">
            <a:off x="6886575" y="2349500"/>
            <a:ext cx="2649538" cy="180181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8450" name="타원 1"/>
          <p:cNvSpPr>
            <a:spLocks noChangeArrowheads="1"/>
          </p:cNvSpPr>
          <p:nvPr/>
        </p:nvSpPr>
        <p:spPr bwMode="auto">
          <a:xfrm>
            <a:off x="2724150" y="1585913"/>
            <a:ext cx="373063" cy="328612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1</a:t>
            </a:r>
            <a:endParaRPr lang="ko-KR" altLang="en-US"/>
          </a:p>
        </p:txBody>
      </p:sp>
      <p:sp>
        <p:nvSpPr>
          <p:cNvPr id="18451" name="타원 544"/>
          <p:cNvSpPr>
            <a:spLocks noChangeArrowheads="1"/>
          </p:cNvSpPr>
          <p:nvPr/>
        </p:nvSpPr>
        <p:spPr bwMode="auto">
          <a:xfrm>
            <a:off x="5070475" y="2266950"/>
            <a:ext cx="373063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2</a:t>
            </a:r>
            <a:endParaRPr lang="ko-KR" altLang="en-US"/>
          </a:p>
        </p:txBody>
      </p:sp>
      <p:sp>
        <p:nvSpPr>
          <p:cNvPr id="18452" name="타원 545"/>
          <p:cNvSpPr>
            <a:spLocks noChangeArrowheads="1"/>
          </p:cNvSpPr>
          <p:nvPr/>
        </p:nvSpPr>
        <p:spPr bwMode="auto">
          <a:xfrm>
            <a:off x="8129588" y="2136775"/>
            <a:ext cx="373062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3</a:t>
            </a:r>
            <a:endParaRPr lang="ko-KR" altLang="en-US"/>
          </a:p>
        </p:txBody>
      </p:sp>
      <p:sp>
        <p:nvSpPr>
          <p:cNvPr id="18453" name="타원 546"/>
          <p:cNvSpPr>
            <a:spLocks noChangeArrowheads="1"/>
          </p:cNvSpPr>
          <p:nvPr/>
        </p:nvSpPr>
        <p:spPr bwMode="auto">
          <a:xfrm>
            <a:off x="9080500" y="5141913"/>
            <a:ext cx="373063" cy="330200"/>
          </a:xfrm>
          <a:prstGeom prst="ellipse">
            <a:avLst/>
          </a:prstGeom>
          <a:solidFill>
            <a:srgbClr val="00B8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/>
              <a:t>4</a:t>
            </a:r>
            <a:endParaRPr lang="ko-KR" altLang="en-US"/>
          </a:p>
        </p:txBody>
      </p:sp>
      <p:grpSp>
        <p:nvGrpSpPr>
          <p:cNvPr id="549" name="Group 27"/>
          <p:cNvGrpSpPr>
            <a:grpSpLocks noChangeAspect="1"/>
          </p:cNvGrpSpPr>
          <p:nvPr/>
        </p:nvGrpSpPr>
        <p:grpSpPr bwMode="auto">
          <a:xfrm>
            <a:off x="3133862" y="2430102"/>
            <a:ext cx="990916" cy="585922"/>
            <a:chOff x="173" y="619"/>
            <a:chExt cx="5499" cy="2644"/>
          </a:xfrm>
          <a:solidFill>
            <a:schemeClr val="accent3">
              <a:lumMod val="95000"/>
            </a:schemeClr>
          </a:solidFill>
        </p:grpSpPr>
        <p:sp>
          <p:nvSpPr>
            <p:cNvPr id="550" name="Freeform 28"/>
            <p:cNvSpPr>
              <a:spLocks noChangeAspect="1"/>
            </p:cNvSpPr>
            <p:nvPr/>
          </p:nvSpPr>
          <p:spPr bwMode="auto">
            <a:xfrm>
              <a:off x="173" y="813"/>
              <a:ext cx="5499" cy="2253"/>
            </a:xfrm>
            <a:custGeom>
              <a:avLst/>
              <a:gdLst>
                <a:gd name="T0" fmla="*/ 1 w 9242"/>
                <a:gd name="T1" fmla="*/ 1 h 3786"/>
                <a:gd name="T2" fmla="*/ 1 w 9242"/>
                <a:gd name="T3" fmla="*/ 1 h 3786"/>
                <a:gd name="T4" fmla="*/ 1 w 9242"/>
                <a:gd name="T5" fmla="*/ 1 h 3786"/>
                <a:gd name="T6" fmla="*/ 1 w 9242"/>
                <a:gd name="T7" fmla="*/ 1 h 3786"/>
                <a:gd name="T8" fmla="*/ 1 w 9242"/>
                <a:gd name="T9" fmla="*/ 1 h 3786"/>
                <a:gd name="T10" fmla="*/ 1 w 9242"/>
                <a:gd name="T11" fmla="*/ 1 h 3786"/>
                <a:gd name="T12" fmla="*/ 1 w 9242"/>
                <a:gd name="T13" fmla="*/ 1 h 3786"/>
                <a:gd name="T14" fmla="*/ 1 w 9242"/>
                <a:gd name="T15" fmla="*/ 1 h 3786"/>
                <a:gd name="T16" fmla="*/ 1 w 9242"/>
                <a:gd name="T17" fmla="*/ 1 h 3786"/>
                <a:gd name="T18" fmla="*/ 1 w 9242"/>
                <a:gd name="T19" fmla="*/ 1 h 3786"/>
                <a:gd name="T20" fmla="*/ 1 w 9242"/>
                <a:gd name="T21" fmla="*/ 1 h 3786"/>
                <a:gd name="T22" fmla="*/ 1 w 9242"/>
                <a:gd name="T23" fmla="*/ 1 h 3786"/>
                <a:gd name="T24" fmla="*/ 1 w 9242"/>
                <a:gd name="T25" fmla="*/ 1 h 3786"/>
                <a:gd name="T26" fmla="*/ 1 w 9242"/>
                <a:gd name="T27" fmla="*/ 1 h 3786"/>
                <a:gd name="T28" fmla="*/ 1 w 9242"/>
                <a:gd name="T29" fmla="*/ 1 h 3786"/>
                <a:gd name="T30" fmla="*/ 1 w 9242"/>
                <a:gd name="T31" fmla="*/ 1 h 3786"/>
                <a:gd name="T32" fmla="*/ 1 w 9242"/>
                <a:gd name="T33" fmla="*/ 1 h 3786"/>
                <a:gd name="T34" fmla="*/ 1 w 9242"/>
                <a:gd name="T35" fmla="*/ 1 h 3786"/>
                <a:gd name="T36" fmla="*/ 1 w 9242"/>
                <a:gd name="T37" fmla="*/ 1 h 3786"/>
                <a:gd name="T38" fmla="*/ 1 w 9242"/>
                <a:gd name="T39" fmla="*/ 1 h 3786"/>
                <a:gd name="T40" fmla="*/ 1 w 9242"/>
                <a:gd name="T41" fmla="*/ 1 h 3786"/>
                <a:gd name="T42" fmla="*/ 1 w 9242"/>
                <a:gd name="T43" fmla="*/ 1 h 3786"/>
                <a:gd name="T44" fmla="*/ 1 w 9242"/>
                <a:gd name="T45" fmla="*/ 1 h 3786"/>
                <a:gd name="T46" fmla="*/ 1 w 9242"/>
                <a:gd name="T47" fmla="*/ 1 h 3786"/>
                <a:gd name="T48" fmla="*/ 1 w 9242"/>
                <a:gd name="T49" fmla="*/ 1 h 3786"/>
                <a:gd name="T50" fmla="*/ 1 w 9242"/>
                <a:gd name="T51" fmla="*/ 1 h 3786"/>
                <a:gd name="T52" fmla="*/ 1 w 9242"/>
                <a:gd name="T53" fmla="*/ 1 h 3786"/>
                <a:gd name="T54" fmla="*/ 1 w 9242"/>
                <a:gd name="T55" fmla="*/ 1 h 3786"/>
                <a:gd name="T56" fmla="*/ 1 w 9242"/>
                <a:gd name="T57" fmla="*/ 1 h 3786"/>
                <a:gd name="T58" fmla="*/ 1 w 9242"/>
                <a:gd name="T59" fmla="*/ 1 h 3786"/>
                <a:gd name="T60" fmla="*/ 1 w 9242"/>
                <a:gd name="T61" fmla="*/ 1 h 3786"/>
                <a:gd name="T62" fmla="*/ 1 w 9242"/>
                <a:gd name="T63" fmla="*/ 1 h 3786"/>
                <a:gd name="T64" fmla="*/ 1 w 9242"/>
                <a:gd name="T65" fmla="*/ 1 h 3786"/>
                <a:gd name="T66" fmla="*/ 1 w 9242"/>
                <a:gd name="T67" fmla="*/ 1 h 3786"/>
                <a:gd name="T68" fmla="*/ 0 w 9242"/>
                <a:gd name="T69" fmla="*/ 1 h 3786"/>
                <a:gd name="T70" fmla="*/ 1 w 9242"/>
                <a:gd name="T71" fmla="*/ 1 h 3786"/>
                <a:gd name="T72" fmla="*/ 1 w 9242"/>
                <a:gd name="T73" fmla="*/ 1 h 3786"/>
                <a:gd name="T74" fmla="*/ 1 w 9242"/>
                <a:gd name="T75" fmla="*/ 1 h 3786"/>
                <a:gd name="T76" fmla="*/ 1 w 9242"/>
                <a:gd name="T77" fmla="*/ 1 h 378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242"/>
                <a:gd name="T118" fmla="*/ 0 h 3786"/>
                <a:gd name="T119" fmla="*/ 9242 w 9242"/>
                <a:gd name="T120" fmla="*/ 3786 h 378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242" h="3786">
                  <a:moveTo>
                    <a:pt x="444" y="208"/>
                  </a:moveTo>
                  <a:lnTo>
                    <a:pt x="498" y="186"/>
                  </a:lnTo>
                  <a:lnTo>
                    <a:pt x="520" y="143"/>
                  </a:lnTo>
                  <a:lnTo>
                    <a:pt x="535" y="136"/>
                  </a:lnTo>
                  <a:cubicBezTo>
                    <a:pt x="553" y="133"/>
                    <a:pt x="555" y="138"/>
                    <a:pt x="627" y="127"/>
                  </a:cubicBezTo>
                  <a:cubicBezTo>
                    <a:pt x="699" y="116"/>
                    <a:pt x="760" y="85"/>
                    <a:pt x="967" y="68"/>
                  </a:cubicBezTo>
                  <a:cubicBezTo>
                    <a:pt x="1174" y="51"/>
                    <a:pt x="1572" y="32"/>
                    <a:pt x="1867" y="27"/>
                  </a:cubicBezTo>
                  <a:cubicBezTo>
                    <a:pt x="2162" y="22"/>
                    <a:pt x="2456" y="37"/>
                    <a:pt x="2737" y="39"/>
                  </a:cubicBezTo>
                  <a:cubicBezTo>
                    <a:pt x="3018" y="41"/>
                    <a:pt x="3054" y="41"/>
                    <a:pt x="3556" y="41"/>
                  </a:cubicBezTo>
                  <a:cubicBezTo>
                    <a:pt x="4058" y="41"/>
                    <a:pt x="5224" y="44"/>
                    <a:pt x="5748" y="42"/>
                  </a:cubicBezTo>
                  <a:cubicBezTo>
                    <a:pt x="6272" y="40"/>
                    <a:pt x="6401" y="31"/>
                    <a:pt x="6700" y="26"/>
                  </a:cubicBezTo>
                  <a:cubicBezTo>
                    <a:pt x="6999" y="21"/>
                    <a:pt x="7278" y="0"/>
                    <a:pt x="7542" y="11"/>
                  </a:cubicBezTo>
                  <a:cubicBezTo>
                    <a:pt x="7806" y="22"/>
                    <a:pt x="8080" y="37"/>
                    <a:pt x="8286" y="92"/>
                  </a:cubicBezTo>
                  <a:cubicBezTo>
                    <a:pt x="8492" y="147"/>
                    <a:pt x="8639" y="193"/>
                    <a:pt x="8779" y="339"/>
                  </a:cubicBezTo>
                  <a:cubicBezTo>
                    <a:pt x="8919" y="485"/>
                    <a:pt x="9051" y="708"/>
                    <a:pt x="9128" y="968"/>
                  </a:cubicBezTo>
                  <a:cubicBezTo>
                    <a:pt x="9205" y="1228"/>
                    <a:pt x="9242" y="1590"/>
                    <a:pt x="9242" y="1897"/>
                  </a:cubicBezTo>
                  <a:cubicBezTo>
                    <a:pt x="9242" y="2204"/>
                    <a:pt x="9209" y="2550"/>
                    <a:pt x="9131" y="2809"/>
                  </a:cubicBezTo>
                  <a:cubicBezTo>
                    <a:pt x="9053" y="3068"/>
                    <a:pt x="8921" y="3301"/>
                    <a:pt x="8773" y="3450"/>
                  </a:cubicBezTo>
                  <a:cubicBezTo>
                    <a:pt x="8625" y="3600"/>
                    <a:pt x="8464" y="3647"/>
                    <a:pt x="8242" y="3702"/>
                  </a:cubicBezTo>
                  <a:cubicBezTo>
                    <a:pt x="8020" y="3757"/>
                    <a:pt x="7704" y="3770"/>
                    <a:pt x="7442" y="3778"/>
                  </a:cubicBezTo>
                  <a:cubicBezTo>
                    <a:pt x="7180" y="3786"/>
                    <a:pt x="6955" y="3754"/>
                    <a:pt x="6670" y="3749"/>
                  </a:cubicBezTo>
                  <a:cubicBezTo>
                    <a:pt x="6385" y="3744"/>
                    <a:pt x="6252" y="3748"/>
                    <a:pt x="5732" y="3747"/>
                  </a:cubicBezTo>
                  <a:cubicBezTo>
                    <a:pt x="5212" y="3746"/>
                    <a:pt x="4052" y="3743"/>
                    <a:pt x="3552" y="3743"/>
                  </a:cubicBezTo>
                  <a:cubicBezTo>
                    <a:pt x="3052" y="3743"/>
                    <a:pt x="3013" y="3746"/>
                    <a:pt x="2732" y="3749"/>
                  </a:cubicBezTo>
                  <a:cubicBezTo>
                    <a:pt x="2451" y="3752"/>
                    <a:pt x="2158" y="3764"/>
                    <a:pt x="1864" y="3759"/>
                  </a:cubicBezTo>
                  <a:cubicBezTo>
                    <a:pt x="1570" y="3753"/>
                    <a:pt x="1180" y="3733"/>
                    <a:pt x="970" y="3715"/>
                  </a:cubicBezTo>
                  <a:cubicBezTo>
                    <a:pt x="760" y="3698"/>
                    <a:pt x="677" y="3667"/>
                    <a:pt x="602" y="3655"/>
                  </a:cubicBezTo>
                  <a:cubicBezTo>
                    <a:pt x="527" y="3642"/>
                    <a:pt x="536" y="3651"/>
                    <a:pt x="518" y="3641"/>
                  </a:cubicBezTo>
                  <a:lnTo>
                    <a:pt x="496" y="3597"/>
                  </a:lnTo>
                  <a:lnTo>
                    <a:pt x="454" y="3579"/>
                  </a:lnTo>
                  <a:lnTo>
                    <a:pt x="438" y="3573"/>
                  </a:lnTo>
                  <a:cubicBezTo>
                    <a:pt x="408" y="3548"/>
                    <a:pt x="327" y="3508"/>
                    <a:pt x="276" y="3425"/>
                  </a:cubicBezTo>
                  <a:cubicBezTo>
                    <a:pt x="225" y="3341"/>
                    <a:pt x="168" y="3207"/>
                    <a:pt x="130" y="3072"/>
                  </a:cubicBezTo>
                  <a:cubicBezTo>
                    <a:pt x="92" y="2936"/>
                    <a:pt x="68" y="2806"/>
                    <a:pt x="46" y="2612"/>
                  </a:cubicBezTo>
                  <a:cubicBezTo>
                    <a:pt x="24" y="2419"/>
                    <a:pt x="0" y="2153"/>
                    <a:pt x="0" y="1913"/>
                  </a:cubicBezTo>
                  <a:cubicBezTo>
                    <a:pt x="0" y="1672"/>
                    <a:pt x="22" y="1368"/>
                    <a:pt x="45" y="1168"/>
                  </a:cubicBezTo>
                  <a:cubicBezTo>
                    <a:pt x="68" y="968"/>
                    <a:pt x="98" y="849"/>
                    <a:pt x="136" y="713"/>
                  </a:cubicBezTo>
                  <a:cubicBezTo>
                    <a:pt x="174" y="576"/>
                    <a:pt x="225" y="435"/>
                    <a:pt x="276" y="351"/>
                  </a:cubicBezTo>
                  <a:cubicBezTo>
                    <a:pt x="327" y="266"/>
                    <a:pt x="444" y="208"/>
                    <a:pt x="444" y="208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1" name="Freeform 29"/>
            <p:cNvSpPr>
              <a:spLocks noChangeAspect="1"/>
            </p:cNvSpPr>
            <p:nvPr/>
          </p:nvSpPr>
          <p:spPr bwMode="auto">
            <a:xfrm>
              <a:off x="5552" y="1492"/>
              <a:ext cx="108" cy="895"/>
            </a:xfrm>
            <a:custGeom>
              <a:avLst/>
              <a:gdLst>
                <a:gd name="T0" fmla="*/ 1725 w 93"/>
                <a:gd name="T1" fmla="*/ 4749 h 768"/>
                <a:gd name="T2" fmla="*/ 9699 w 93"/>
                <a:gd name="T3" fmla="*/ 59395 h 768"/>
                <a:gd name="T4" fmla="*/ 14315 w 93"/>
                <a:gd name="T5" fmla="*/ 148773 h 768"/>
                <a:gd name="T6" fmla="*/ 8935 w 93"/>
                <a:gd name="T7" fmla="*/ 238841 h 768"/>
                <a:gd name="T8" fmla="*/ 0 w 93"/>
                <a:gd name="T9" fmla="*/ 295828 h 768"/>
                <a:gd name="T10" fmla="*/ 2003 w 93"/>
                <a:gd name="T11" fmla="*/ 297384 h 768"/>
                <a:gd name="T12" fmla="*/ 10951 w 93"/>
                <a:gd name="T13" fmla="*/ 297828 h 768"/>
                <a:gd name="T14" fmla="*/ 21321 w 93"/>
                <a:gd name="T15" fmla="*/ 284118 h 768"/>
                <a:gd name="T16" fmla="*/ 22419 w 93"/>
                <a:gd name="T17" fmla="*/ 280236 h 768"/>
                <a:gd name="T18" fmla="*/ 29383 w 93"/>
                <a:gd name="T19" fmla="*/ 223501 h 768"/>
                <a:gd name="T20" fmla="*/ 31344 w 93"/>
                <a:gd name="T21" fmla="*/ 149698 h 768"/>
                <a:gd name="T22" fmla="*/ 28754 w 93"/>
                <a:gd name="T23" fmla="*/ 72775 h 768"/>
                <a:gd name="T24" fmla="*/ 21673 w 93"/>
                <a:gd name="T25" fmla="*/ 11894 h 768"/>
                <a:gd name="T26" fmla="*/ 18663 w 93"/>
                <a:gd name="T27" fmla="*/ 8818 h 768"/>
                <a:gd name="T28" fmla="*/ 9476 w 93"/>
                <a:gd name="T29" fmla="*/ 3 h 768"/>
                <a:gd name="T30" fmla="*/ 3643 w 93"/>
                <a:gd name="T31" fmla="*/ 2575 h 768"/>
                <a:gd name="T32" fmla="*/ 1725 w 93"/>
                <a:gd name="T33" fmla="*/ 4749 h 7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93"/>
                <a:gd name="T52" fmla="*/ 0 h 768"/>
                <a:gd name="T53" fmla="*/ 93 w 93"/>
                <a:gd name="T54" fmla="*/ 768 h 7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93" h="768">
                  <a:moveTo>
                    <a:pt x="5" y="12"/>
                  </a:moveTo>
                  <a:cubicBezTo>
                    <a:pt x="8" y="36"/>
                    <a:pt x="23" y="91"/>
                    <a:pt x="29" y="153"/>
                  </a:cubicBezTo>
                  <a:cubicBezTo>
                    <a:pt x="35" y="215"/>
                    <a:pt x="43" y="305"/>
                    <a:pt x="42" y="381"/>
                  </a:cubicBezTo>
                  <a:cubicBezTo>
                    <a:pt x="41" y="457"/>
                    <a:pt x="33" y="548"/>
                    <a:pt x="26" y="611"/>
                  </a:cubicBezTo>
                  <a:cubicBezTo>
                    <a:pt x="19" y="674"/>
                    <a:pt x="3" y="732"/>
                    <a:pt x="0" y="757"/>
                  </a:cubicBezTo>
                  <a:lnTo>
                    <a:pt x="6" y="761"/>
                  </a:lnTo>
                  <a:cubicBezTo>
                    <a:pt x="11" y="762"/>
                    <a:pt x="22" y="768"/>
                    <a:pt x="32" y="762"/>
                  </a:cubicBezTo>
                  <a:cubicBezTo>
                    <a:pt x="41" y="757"/>
                    <a:pt x="56" y="735"/>
                    <a:pt x="62" y="728"/>
                  </a:cubicBezTo>
                  <a:lnTo>
                    <a:pt x="66" y="717"/>
                  </a:lnTo>
                  <a:cubicBezTo>
                    <a:pt x="70" y="691"/>
                    <a:pt x="82" y="628"/>
                    <a:pt x="86" y="572"/>
                  </a:cubicBezTo>
                  <a:cubicBezTo>
                    <a:pt x="90" y="516"/>
                    <a:pt x="93" y="447"/>
                    <a:pt x="93" y="383"/>
                  </a:cubicBezTo>
                  <a:cubicBezTo>
                    <a:pt x="93" y="319"/>
                    <a:pt x="89" y="245"/>
                    <a:pt x="84" y="186"/>
                  </a:cubicBezTo>
                  <a:cubicBezTo>
                    <a:pt x="79" y="127"/>
                    <a:pt x="68" y="57"/>
                    <a:pt x="63" y="30"/>
                  </a:cubicBezTo>
                  <a:lnTo>
                    <a:pt x="54" y="23"/>
                  </a:lnTo>
                  <a:cubicBezTo>
                    <a:pt x="48" y="19"/>
                    <a:pt x="35" y="6"/>
                    <a:pt x="28" y="3"/>
                  </a:cubicBezTo>
                  <a:cubicBezTo>
                    <a:pt x="21" y="0"/>
                    <a:pt x="14" y="6"/>
                    <a:pt x="10" y="7"/>
                  </a:cubicBezTo>
                  <a:lnTo>
                    <a:pt x="5" y="12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2" name="Freeform 30"/>
            <p:cNvSpPr>
              <a:spLocks noChangeAspect="1"/>
            </p:cNvSpPr>
            <p:nvPr/>
          </p:nvSpPr>
          <p:spPr bwMode="auto">
            <a:xfrm>
              <a:off x="223" y="1141"/>
              <a:ext cx="385" cy="1602"/>
            </a:xfrm>
            <a:custGeom>
              <a:avLst/>
              <a:gdLst>
                <a:gd name="T0" fmla="*/ 1 w 647"/>
                <a:gd name="T1" fmla="*/ 1 h 2749"/>
                <a:gd name="T2" fmla="*/ 1 w 647"/>
                <a:gd name="T3" fmla="*/ 1 h 2749"/>
                <a:gd name="T4" fmla="*/ 1 w 647"/>
                <a:gd name="T5" fmla="*/ 1 h 2749"/>
                <a:gd name="T6" fmla="*/ 1 w 647"/>
                <a:gd name="T7" fmla="*/ 1 h 2749"/>
                <a:gd name="T8" fmla="*/ 1 w 647"/>
                <a:gd name="T9" fmla="*/ 1 h 2749"/>
                <a:gd name="T10" fmla="*/ 1 w 647"/>
                <a:gd name="T11" fmla="*/ 1 h 2749"/>
                <a:gd name="T12" fmla="*/ 0 w 647"/>
                <a:gd name="T13" fmla="*/ 1 h 2749"/>
                <a:gd name="T14" fmla="*/ 1 w 647"/>
                <a:gd name="T15" fmla="*/ 1 h 2749"/>
                <a:gd name="T16" fmla="*/ 1 w 647"/>
                <a:gd name="T17" fmla="*/ 1 h 2749"/>
                <a:gd name="T18" fmla="*/ 1 w 647"/>
                <a:gd name="T19" fmla="*/ 1 h 2749"/>
                <a:gd name="T20" fmla="*/ 1 w 647"/>
                <a:gd name="T21" fmla="*/ 1 h 2749"/>
                <a:gd name="T22" fmla="*/ 1 w 647"/>
                <a:gd name="T23" fmla="*/ 1 h 2749"/>
                <a:gd name="T24" fmla="*/ 1 w 647"/>
                <a:gd name="T25" fmla="*/ 1 h 274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47"/>
                <a:gd name="T40" fmla="*/ 0 h 2749"/>
                <a:gd name="T41" fmla="*/ 647 w 647"/>
                <a:gd name="T42" fmla="*/ 2749 h 274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47" h="2749">
                  <a:moveTo>
                    <a:pt x="628" y="2635"/>
                  </a:moveTo>
                  <a:cubicBezTo>
                    <a:pt x="624" y="2645"/>
                    <a:pt x="645" y="2678"/>
                    <a:pt x="604" y="2695"/>
                  </a:cubicBezTo>
                  <a:cubicBezTo>
                    <a:pt x="563" y="2712"/>
                    <a:pt x="443" y="2749"/>
                    <a:pt x="382" y="2738"/>
                  </a:cubicBezTo>
                  <a:cubicBezTo>
                    <a:pt x="321" y="2727"/>
                    <a:pt x="287" y="2697"/>
                    <a:pt x="240" y="2627"/>
                  </a:cubicBezTo>
                  <a:cubicBezTo>
                    <a:pt x="193" y="2557"/>
                    <a:pt x="134" y="2430"/>
                    <a:pt x="100" y="2319"/>
                  </a:cubicBezTo>
                  <a:cubicBezTo>
                    <a:pt x="66" y="2208"/>
                    <a:pt x="53" y="2119"/>
                    <a:pt x="36" y="1959"/>
                  </a:cubicBezTo>
                  <a:cubicBezTo>
                    <a:pt x="19" y="1799"/>
                    <a:pt x="0" y="1553"/>
                    <a:pt x="0" y="1359"/>
                  </a:cubicBezTo>
                  <a:cubicBezTo>
                    <a:pt x="0" y="1165"/>
                    <a:pt x="19" y="944"/>
                    <a:pt x="37" y="792"/>
                  </a:cubicBezTo>
                  <a:cubicBezTo>
                    <a:pt x="55" y="640"/>
                    <a:pt x="77" y="560"/>
                    <a:pt x="111" y="449"/>
                  </a:cubicBezTo>
                  <a:cubicBezTo>
                    <a:pt x="145" y="338"/>
                    <a:pt x="198" y="198"/>
                    <a:pt x="240" y="125"/>
                  </a:cubicBezTo>
                  <a:cubicBezTo>
                    <a:pt x="282" y="52"/>
                    <a:pt x="303" y="22"/>
                    <a:pt x="363" y="11"/>
                  </a:cubicBezTo>
                  <a:cubicBezTo>
                    <a:pt x="423" y="0"/>
                    <a:pt x="559" y="43"/>
                    <a:pt x="603" y="59"/>
                  </a:cubicBezTo>
                  <a:cubicBezTo>
                    <a:pt x="647" y="75"/>
                    <a:pt x="621" y="102"/>
                    <a:pt x="625" y="11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3" name="Freeform 31"/>
            <p:cNvSpPr>
              <a:spLocks noChangeAspect="1"/>
            </p:cNvSpPr>
            <p:nvPr/>
          </p:nvSpPr>
          <p:spPr bwMode="auto">
            <a:xfrm>
              <a:off x="448" y="1155"/>
              <a:ext cx="311" cy="1565"/>
            </a:xfrm>
            <a:custGeom>
              <a:avLst/>
              <a:gdLst>
                <a:gd name="T0" fmla="*/ 1 w 523"/>
                <a:gd name="T1" fmla="*/ 1 h 2682"/>
                <a:gd name="T2" fmla="*/ 1 w 523"/>
                <a:gd name="T3" fmla="*/ 1 h 2682"/>
                <a:gd name="T4" fmla="*/ 1 w 523"/>
                <a:gd name="T5" fmla="*/ 1 h 2682"/>
                <a:gd name="T6" fmla="*/ 1 w 523"/>
                <a:gd name="T7" fmla="*/ 1 h 2682"/>
                <a:gd name="T8" fmla="*/ 1 w 523"/>
                <a:gd name="T9" fmla="*/ 1 h 2682"/>
                <a:gd name="T10" fmla="*/ 1 w 523"/>
                <a:gd name="T11" fmla="*/ 1 h 2682"/>
                <a:gd name="T12" fmla="*/ 1 w 523"/>
                <a:gd name="T13" fmla="*/ 1 h 268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3"/>
                <a:gd name="T22" fmla="*/ 0 h 2682"/>
                <a:gd name="T23" fmla="*/ 523 w 523"/>
                <a:gd name="T24" fmla="*/ 2682 h 268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3" h="2682">
                  <a:moveTo>
                    <a:pt x="523" y="2682"/>
                  </a:moveTo>
                  <a:cubicBezTo>
                    <a:pt x="469" y="2662"/>
                    <a:pt x="279" y="2669"/>
                    <a:pt x="197" y="2559"/>
                  </a:cubicBezTo>
                  <a:cubicBezTo>
                    <a:pt x="115" y="2449"/>
                    <a:pt x="66" y="2226"/>
                    <a:pt x="33" y="2023"/>
                  </a:cubicBezTo>
                  <a:cubicBezTo>
                    <a:pt x="0" y="1820"/>
                    <a:pt x="0" y="1567"/>
                    <a:pt x="1" y="1339"/>
                  </a:cubicBezTo>
                  <a:cubicBezTo>
                    <a:pt x="2" y="1111"/>
                    <a:pt x="4" y="860"/>
                    <a:pt x="41" y="655"/>
                  </a:cubicBezTo>
                  <a:cubicBezTo>
                    <a:pt x="78" y="450"/>
                    <a:pt x="145" y="214"/>
                    <a:pt x="225" y="107"/>
                  </a:cubicBezTo>
                  <a:cubicBezTo>
                    <a:pt x="305" y="0"/>
                    <a:pt x="461" y="32"/>
                    <a:pt x="523" y="1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4" name="Freeform 32"/>
            <p:cNvSpPr>
              <a:spLocks noChangeAspect="1"/>
            </p:cNvSpPr>
            <p:nvPr/>
          </p:nvSpPr>
          <p:spPr bwMode="auto">
            <a:xfrm>
              <a:off x="434" y="1007"/>
              <a:ext cx="332" cy="1861"/>
            </a:xfrm>
            <a:custGeom>
              <a:avLst/>
              <a:gdLst>
                <a:gd name="T0" fmla="*/ 0 w 558"/>
                <a:gd name="T1" fmla="*/ 1 h 3174"/>
                <a:gd name="T2" fmla="*/ 1 w 558"/>
                <a:gd name="T3" fmla="*/ 1 h 3174"/>
                <a:gd name="T4" fmla="*/ 1 w 558"/>
                <a:gd name="T5" fmla="*/ 1 h 3174"/>
                <a:gd name="T6" fmla="*/ 1 w 558"/>
                <a:gd name="T7" fmla="*/ 1 h 3174"/>
                <a:gd name="T8" fmla="*/ 1 w 558"/>
                <a:gd name="T9" fmla="*/ 1 h 3174"/>
                <a:gd name="T10" fmla="*/ 1 w 558"/>
                <a:gd name="T11" fmla="*/ 1 h 3174"/>
                <a:gd name="T12" fmla="*/ 1 w 558"/>
                <a:gd name="T13" fmla="*/ 1 h 3174"/>
                <a:gd name="T14" fmla="*/ 1 w 558"/>
                <a:gd name="T15" fmla="*/ 1 h 3174"/>
                <a:gd name="T16" fmla="*/ 1 w 558"/>
                <a:gd name="T17" fmla="*/ 1 h 3174"/>
                <a:gd name="T18" fmla="*/ 1 w 558"/>
                <a:gd name="T19" fmla="*/ 1 h 3174"/>
                <a:gd name="T20" fmla="*/ 1 w 558"/>
                <a:gd name="T21" fmla="*/ 1 h 3174"/>
                <a:gd name="T22" fmla="*/ 1 w 558"/>
                <a:gd name="T23" fmla="*/ 1 h 3174"/>
                <a:gd name="T24" fmla="*/ 1 w 558"/>
                <a:gd name="T25" fmla="*/ 1 h 3174"/>
                <a:gd name="T26" fmla="*/ 1 w 558"/>
                <a:gd name="T27" fmla="*/ 1 h 3174"/>
                <a:gd name="T28" fmla="*/ 1 w 558"/>
                <a:gd name="T29" fmla="*/ 0 h 317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58"/>
                <a:gd name="T46" fmla="*/ 0 h 3174"/>
                <a:gd name="T47" fmla="*/ 558 w 558"/>
                <a:gd name="T48" fmla="*/ 3174 h 317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58" h="3174">
                  <a:moveTo>
                    <a:pt x="0" y="3174"/>
                  </a:moveTo>
                  <a:cubicBezTo>
                    <a:pt x="16" y="3160"/>
                    <a:pt x="41" y="3114"/>
                    <a:pt x="95" y="3090"/>
                  </a:cubicBezTo>
                  <a:cubicBezTo>
                    <a:pt x="149" y="3066"/>
                    <a:pt x="254" y="3050"/>
                    <a:pt x="326" y="3027"/>
                  </a:cubicBezTo>
                  <a:cubicBezTo>
                    <a:pt x="398" y="3004"/>
                    <a:pt x="491" y="2965"/>
                    <a:pt x="528" y="2949"/>
                  </a:cubicBezTo>
                  <a:lnTo>
                    <a:pt x="546" y="2932"/>
                  </a:lnTo>
                  <a:lnTo>
                    <a:pt x="555" y="2910"/>
                  </a:lnTo>
                  <a:cubicBezTo>
                    <a:pt x="552" y="2814"/>
                    <a:pt x="534" y="2575"/>
                    <a:pt x="525" y="2355"/>
                  </a:cubicBezTo>
                  <a:cubicBezTo>
                    <a:pt x="516" y="2135"/>
                    <a:pt x="505" y="1834"/>
                    <a:pt x="503" y="1591"/>
                  </a:cubicBezTo>
                  <a:cubicBezTo>
                    <a:pt x="501" y="1348"/>
                    <a:pt x="506" y="1114"/>
                    <a:pt x="515" y="897"/>
                  </a:cubicBezTo>
                  <a:cubicBezTo>
                    <a:pt x="524" y="680"/>
                    <a:pt x="552" y="394"/>
                    <a:pt x="558" y="289"/>
                  </a:cubicBezTo>
                  <a:lnTo>
                    <a:pt x="552" y="264"/>
                  </a:lnTo>
                  <a:lnTo>
                    <a:pt x="530" y="244"/>
                  </a:lnTo>
                  <a:cubicBezTo>
                    <a:pt x="494" y="227"/>
                    <a:pt x="411" y="188"/>
                    <a:pt x="338" y="162"/>
                  </a:cubicBezTo>
                  <a:cubicBezTo>
                    <a:pt x="265" y="136"/>
                    <a:pt x="149" y="113"/>
                    <a:pt x="93" y="86"/>
                  </a:cubicBezTo>
                  <a:cubicBezTo>
                    <a:pt x="37" y="59"/>
                    <a:pt x="21" y="18"/>
                    <a:pt x="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5" name="Freeform 33"/>
            <p:cNvSpPr>
              <a:spLocks noChangeAspect="1"/>
            </p:cNvSpPr>
            <p:nvPr/>
          </p:nvSpPr>
          <p:spPr bwMode="auto">
            <a:xfrm>
              <a:off x="5580" y="1493"/>
              <a:ext cx="51" cy="886"/>
            </a:xfrm>
            <a:custGeom>
              <a:avLst/>
              <a:gdLst>
                <a:gd name="T0" fmla="*/ 2 w 44"/>
                <a:gd name="T1" fmla="*/ 0 h 760"/>
                <a:gd name="T2" fmla="*/ 8749 w 44"/>
                <a:gd name="T3" fmla="*/ 53172 h 760"/>
                <a:gd name="T4" fmla="*/ 14089 w 44"/>
                <a:gd name="T5" fmla="*/ 144847 h 760"/>
                <a:gd name="T6" fmla="*/ 9878 w 44"/>
                <a:gd name="T7" fmla="*/ 229218 h 760"/>
                <a:gd name="T8" fmla="*/ 0 w 44"/>
                <a:gd name="T9" fmla="*/ 301326 h 7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4"/>
                <a:gd name="T16" fmla="*/ 0 h 760"/>
                <a:gd name="T17" fmla="*/ 44 w 44"/>
                <a:gd name="T18" fmla="*/ 760 h 76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4" h="760">
                  <a:moveTo>
                    <a:pt x="2" y="0"/>
                  </a:moveTo>
                  <a:cubicBezTo>
                    <a:pt x="6" y="22"/>
                    <a:pt x="21" y="74"/>
                    <a:pt x="28" y="135"/>
                  </a:cubicBezTo>
                  <a:cubicBezTo>
                    <a:pt x="35" y="196"/>
                    <a:pt x="44" y="291"/>
                    <a:pt x="44" y="365"/>
                  </a:cubicBezTo>
                  <a:cubicBezTo>
                    <a:pt x="44" y="439"/>
                    <a:pt x="37" y="512"/>
                    <a:pt x="30" y="578"/>
                  </a:cubicBezTo>
                  <a:cubicBezTo>
                    <a:pt x="23" y="644"/>
                    <a:pt x="6" y="722"/>
                    <a:pt x="0" y="76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6" name="Freeform 34"/>
            <p:cNvSpPr>
              <a:spLocks noChangeAspect="1"/>
            </p:cNvSpPr>
            <p:nvPr/>
          </p:nvSpPr>
          <p:spPr bwMode="auto">
            <a:xfrm>
              <a:off x="5603" y="1508"/>
              <a:ext cx="46" cy="857"/>
            </a:xfrm>
            <a:custGeom>
              <a:avLst/>
              <a:gdLst>
                <a:gd name="T0" fmla="*/ 0 w 39"/>
                <a:gd name="T1" fmla="*/ 0 h 735"/>
                <a:gd name="T2" fmla="*/ 15160 w 39"/>
                <a:gd name="T3" fmla="*/ 54934 h 735"/>
                <a:gd name="T4" fmla="*/ 24211 w 39"/>
                <a:gd name="T5" fmla="*/ 141466 h 735"/>
                <a:gd name="T6" fmla="*/ 17403 w 39"/>
                <a:gd name="T7" fmla="*/ 226358 h 735"/>
                <a:gd name="T8" fmla="*/ 1 w 39"/>
                <a:gd name="T9" fmla="*/ 293066 h 7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735"/>
                <a:gd name="T17" fmla="*/ 39 w 39"/>
                <a:gd name="T18" fmla="*/ 735 h 7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735">
                  <a:moveTo>
                    <a:pt x="0" y="0"/>
                  </a:moveTo>
                  <a:cubicBezTo>
                    <a:pt x="4" y="23"/>
                    <a:pt x="19" y="79"/>
                    <a:pt x="25" y="138"/>
                  </a:cubicBezTo>
                  <a:cubicBezTo>
                    <a:pt x="31" y="197"/>
                    <a:pt x="39" y="283"/>
                    <a:pt x="39" y="354"/>
                  </a:cubicBezTo>
                  <a:cubicBezTo>
                    <a:pt x="39" y="425"/>
                    <a:pt x="34" y="504"/>
                    <a:pt x="28" y="567"/>
                  </a:cubicBezTo>
                  <a:cubicBezTo>
                    <a:pt x="22" y="630"/>
                    <a:pt x="7" y="700"/>
                    <a:pt x="1" y="73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7" name="Freeform 35"/>
            <p:cNvSpPr>
              <a:spLocks noChangeAspect="1"/>
            </p:cNvSpPr>
            <p:nvPr/>
          </p:nvSpPr>
          <p:spPr bwMode="auto">
            <a:xfrm>
              <a:off x="3395" y="999"/>
              <a:ext cx="1116" cy="1884"/>
            </a:xfrm>
            <a:custGeom>
              <a:avLst/>
              <a:gdLst>
                <a:gd name="T0" fmla="*/ 1 w 1875"/>
                <a:gd name="T1" fmla="*/ 1 h 3187"/>
                <a:gd name="T2" fmla="*/ 1 w 1875"/>
                <a:gd name="T3" fmla="*/ 1 h 3187"/>
                <a:gd name="T4" fmla="*/ 1 w 1875"/>
                <a:gd name="T5" fmla="*/ 1 h 3187"/>
                <a:gd name="T6" fmla="*/ 1 w 1875"/>
                <a:gd name="T7" fmla="*/ 1 h 3187"/>
                <a:gd name="T8" fmla="*/ 1 w 1875"/>
                <a:gd name="T9" fmla="*/ 1 h 3187"/>
                <a:gd name="T10" fmla="*/ 1 w 1875"/>
                <a:gd name="T11" fmla="*/ 1 h 3187"/>
                <a:gd name="T12" fmla="*/ 1 w 1875"/>
                <a:gd name="T13" fmla="*/ 1 h 3187"/>
                <a:gd name="T14" fmla="*/ 1 w 1875"/>
                <a:gd name="T15" fmla="*/ 1 h 3187"/>
                <a:gd name="T16" fmla="*/ 1 w 1875"/>
                <a:gd name="T17" fmla="*/ 1 h 3187"/>
                <a:gd name="T18" fmla="*/ 1 w 1875"/>
                <a:gd name="T19" fmla="*/ 1 h 3187"/>
                <a:gd name="T20" fmla="*/ 1 w 1875"/>
                <a:gd name="T21" fmla="*/ 1 h 3187"/>
                <a:gd name="T22" fmla="*/ 1 w 1875"/>
                <a:gd name="T23" fmla="*/ 1 h 3187"/>
                <a:gd name="T24" fmla="*/ 1 w 1875"/>
                <a:gd name="T25" fmla="*/ 1 h 3187"/>
                <a:gd name="T26" fmla="*/ 1 w 1875"/>
                <a:gd name="T27" fmla="*/ 1 h 3187"/>
                <a:gd name="T28" fmla="*/ 1 w 1875"/>
                <a:gd name="T29" fmla="*/ 1 h 3187"/>
                <a:gd name="T30" fmla="*/ 1 w 1875"/>
                <a:gd name="T31" fmla="*/ 1 h 3187"/>
                <a:gd name="T32" fmla="*/ 1 w 1875"/>
                <a:gd name="T33" fmla="*/ 1 h 3187"/>
                <a:gd name="T34" fmla="*/ 1 w 1875"/>
                <a:gd name="T35" fmla="*/ 1 h 3187"/>
                <a:gd name="T36" fmla="*/ 1 w 1875"/>
                <a:gd name="T37" fmla="*/ 1 h 3187"/>
                <a:gd name="T38" fmla="*/ 1 w 1875"/>
                <a:gd name="T39" fmla="*/ 1 h 3187"/>
                <a:gd name="T40" fmla="*/ 1 w 1875"/>
                <a:gd name="T41" fmla="*/ 1 h 3187"/>
                <a:gd name="T42" fmla="*/ 1 w 1875"/>
                <a:gd name="T43" fmla="*/ 1 h 3187"/>
                <a:gd name="T44" fmla="*/ 1 w 1875"/>
                <a:gd name="T45" fmla="*/ 1 h 3187"/>
                <a:gd name="T46" fmla="*/ 1 w 1875"/>
                <a:gd name="T47" fmla="*/ 1 h 3187"/>
                <a:gd name="T48" fmla="*/ 1 w 1875"/>
                <a:gd name="T49" fmla="*/ 1 h 31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75"/>
                <a:gd name="T76" fmla="*/ 0 h 3187"/>
                <a:gd name="T77" fmla="*/ 1875 w 1875"/>
                <a:gd name="T78" fmla="*/ 3187 h 31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75" h="3187">
                  <a:moveTo>
                    <a:pt x="157" y="1535"/>
                  </a:moveTo>
                  <a:cubicBezTo>
                    <a:pt x="160" y="1666"/>
                    <a:pt x="147" y="1762"/>
                    <a:pt x="138" y="1887"/>
                  </a:cubicBezTo>
                  <a:cubicBezTo>
                    <a:pt x="129" y="2012"/>
                    <a:pt x="116" y="2177"/>
                    <a:pt x="104" y="2285"/>
                  </a:cubicBezTo>
                  <a:cubicBezTo>
                    <a:pt x="92" y="2393"/>
                    <a:pt x="81" y="2443"/>
                    <a:pt x="64" y="2538"/>
                  </a:cubicBezTo>
                  <a:cubicBezTo>
                    <a:pt x="47" y="2633"/>
                    <a:pt x="2" y="2779"/>
                    <a:pt x="1" y="2853"/>
                  </a:cubicBezTo>
                  <a:cubicBezTo>
                    <a:pt x="0" y="2927"/>
                    <a:pt x="25" y="2954"/>
                    <a:pt x="60" y="2985"/>
                  </a:cubicBezTo>
                  <a:cubicBezTo>
                    <a:pt x="95" y="3016"/>
                    <a:pt x="124" y="3020"/>
                    <a:pt x="214" y="3041"/>
                  </a:cubicBezTo>
                  <a:cubicBezTo>
                    <a:pt x="304" y="3062"/>
                    <a:pt x="430" y="3087"/>
                    <a:pt x="603" y="3110"/>
                  </a:cubicBezTo>
                  <a:cubicBezTo>
                    <a:pt x="776" y="3133"/>
                    <a:pt x="1093" y="3187"/>
                    <a:pt x="1251" y="3180"/>
                  </a:cubicBezTo>
                  <a:cubicBezTo>
                    <a:pt x="1409" y="3173"/>
                    <a:pt x="1474" y="3147"/>
                    <a:pt x="1551" y="3066"/>
                  </a:cubicBezTo>
                  <a:cubicBezTo>
                    <a:pt x="1628" y="2985"/>
                    <a:pt x="1667" y="2847"/>
                    <a:pt x="1714" y="2693"/>
                  </a:cubicBezTo>
                  <a:cubicBezTo>
                    <a:pt x="1761" y="2539"/>
                    <a:pt x="1803" y="2329"/>
                    <a:pt x="1830" y="2144"/>
                  </a:cubicBezTo>
                  <a:cubicBezTo>
                    <a:pt x="1857" y="1959"/>
                    <a:pt x="1875" y="1772"/>
                    <a:pt x="1875" y="1580"/>
                  </a:cubicBezTo>
                  <a:cubicBezTo>
                    <a:pt x="1875" y="1388"/>
                    <a:pt x="1855" y="1165"/>
                    <a:pt x="1832" y="994"/>
                  </a:cubicBezTo>
                  <a:cubicBezTo>
                    <a:pt x="1809" y="823"/>
                    <a:pt x="1778" y="694"/>
                    <a:pt x="1736" y="553"/>
                  </a:cubicBezTo>
                  <a:cubicBezTo>
                    <a:pt x="1694" y="412"/>
                    <a:pt x="1653" y="236"/>
                    <a:pt x="1578" y="146"/>
                  </a:cubicBezTo>
                  <a:cubicBezTo>
                    <a:pt x="1503" y="56"/>
                    <a:pt x="1444" y="22"/>
                    <a:pt x="1284" y="11"/>
                  </a:cubicBezTo>
                  <a:cubicBezTo>
                    <a:pt x="1124" y="0"/>
                    <a:pt x="799" y="56"/>
                    <a:pt x="615" y="81"/>
                  </a:cubicBezTo>
                  <a:cubicBezTo>
                    <a:pt x="431" y="106"/>
                    <a:pt x="274" y="134"/>
                    <a:pt x="180" y="159"/>
                  </a:cubicBezTo>
                  <a:cubicBezTo>
                    <a:pt x="86" y="184"/>
                    <a:pt x="76" y="199"/>
                    <a:pt x="49" y="230"/>
                  </a:cubicBezTo>
                  <a:cubicBezTo>
                    <a:pt x="22" y="261"/>
                    <a:pt x="14" y="289"/>
                    <a:pt x="15" y="344"/>
                  </a:cubicBezTo>
                  <a:cubicBezTo>
                    <a:pt x="16" y="399"/>
                    <a:pt x="38" y="474"/>
                    <a:pt x="54" y="560"/>
                  </a:cubicBezTo>
                  <a:cubicBezTo>
                    <a:pt x="70" y="646"/>
                    <a:pt x="93" y="751"/>
                    <a:pt x="108" y="858"/>
                  </a:cubicBezTo>
                  <a:cubicBezTo>
                    <a:pt x="123" y="965"/>
                    <a:pt x="133" y="1092"/>
                    <a:pt x="141" y="1205"/>
                  </a:cubicBezTo>
                  <a:cubicBezTo>
                    <a:pt x="149" y="1318"/>
                    <a:pt x="154" y="1466"/>
                    <a:pt x="157" y="1535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8" name="Freeform 36"/>
            <p:cNvSpPr>
              <a:spLocks noChangeAspect="1"/>
            </p:cNvSpPr>
            <p:nvPr/>
          </p:nvSpPr>
          <p:spPr bwMode="auto">
            <a:xfrm>
              <a:off x="204" y="1260"/>
              <a:ext cx="79" cy="1358"/>
            </a:xfrm>
            <a:custGeom>
              <a:avLst/>
              <a:gdLst>
                <a:gd name="T0" fmla="*/ 1 w 132"/>
                <a:gd name="T1" fmla="*/ 1 h 2324"/>
                <a:gd name="T2" fmla="*/ 1 w 132"/>
                <a:gd name="T3" fmla="*/ 1 h 2324"/>
                <a:gd name="T4" fmla="*/ 0 w 132"/>
                <a:gd name="T5" fmla="*/ 1 h 2324"/>
                <a:gd name="T6" fmla="*/ 1 w 132"/>
                <a:gd name="T7" fmla="*/ 1 h 2324"/>
                <a:gd name="T8" fmla="*/ 1 w 132"/>
                <a:gd name="T9" fmla="*/ 0 h 23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2"/>
                <a:gd name="T16" fmla="*/ 0 h 2324"/>
                <a:gd name="T17" fmla="*/ 132 w 132"/>
                <a:gd name="T18" fmla="*/ 2324 h 23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2" h="2324">
                  <a:moveTo>
                    <a:pt x="132" y="2324"/>
                  </a:moveTo>
                  <a:cubicBezTo>
                    <a:pt x="115" y="2233"/>
                    <a:pt x="54" y="1968"/>
                    <a:pt x="32" y="1776"/>
                  </a:cubicBezTo>
                  <a:cubicBezTo>
                    <a:pt x="10" y="1584"/>
                    <a:pt x="0" y="1381"/>
                    <a:pt x="0" y="1172"/>
                  </a:cubicBezTo>
                  <a:cubicBezTo>
                    <a:pt x="0" y="963"/>
                    <a:pt x="10" y="719"/>
                    <a:pt x="32" y="524"/>
                  </a:cubicBezTo>
                  <a:cubicBezTo>
                    <a:pt x="54" y="329"/>
                    <a:pt x="111" y="109"/>
                    <a:pt x="13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59" name="Freeform 37"/>
            <p:cNvSpPr>
              <a:spLocks noChangeAspect="1"/>
            </p:cNvSpPr>
            <p:nvPr/>
          </p:nvSpPr>
          <p:spPr bwMode="auto">
            <a:xfrm>
              <a:off x="454" y="1687"/>
              <a:ext cx="48" cy="502"/>
            </a:xfrm>
            <a:custGeom>
              <a:avLst/>
              <a:gdLst>
                <a:gd name="T0" fmla="*/ 0 w 80"/>
                <a:gd name="T1" fmla="*/ 1 h 876"/>
                <a:gd name="T2" fmla="*/ 1 w 80"/>
                <a:gd name="T3" fmla="*/ 1 h 876"/>
                <a:gd name="T4" fmla="*/ 1 w 80"/>
                <a:gd name="T5" fmla="*/ 1 h 876"/>
                <a:gd name="T6" fmla="*/ 1 w 80"/>
                <a:gd name="T7" fmla="*/ 0 h 87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0"/>
                <a:gd name="T13" fmla="*/ 0 h 876"/>
                <a:gd name="T14" fmla="*/ 80 w 80"/>
                <a:gd name="T15" fmla="*/ 876 h 87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0" h="876">
                  <a:moveTo>
                    <a:pt x="0" y="876"/>
                  </a:moveTo>
                  <a:lnTo>
                    <a:pt x="76" y="854"/>
                  </a:lnTo>
                  <a:lnTo>
                    <a:pt x="80" y="22"/>
                  </a:lnTo>
                  <a:lnTo>
                    <a:pt x="2" y="0"/>
                  </a:ln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0" name="Freeform 38"/>
            <p:cNvSpPr>
              <a:spLocks noChangeAspect="1"/>
            </p:cNvSpPr>
            <p:nvPr/>
          </p:nvSpPr>
          <p:spPr bwMode="auto">
            <a:xfrm>
              <a:off x="756" y="240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1" name="Freeform 39"/>
            <p:cNvSpPr>
              <a:spLocks noChangeAspect="1"/>
            </p:cNvSpPr>
            <p:nvPr/>
          </p:nvSpPr>
          <p:spPr bwMode="auto">
            <a:xfrm>
              <a:off x="4411" y="2377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2" name="Freeform 40"/>
            <p:cNvSpPr>
              <a:spLocks noChangeAspect="1"/>
            </p:cNvSpPr>
            <p:nvPr/>
          </p:nvSpPr>
          <p:spPr bwMode="auto">
            <a:xfrm>
              <a:off x="4229" y="2868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3" name="Freeform 41"/>
            <p:cNvSpPr>
              <a:spLocks noChangeAspect="1"/>
            </p:cNvSpPr>
            <p:nvPr/>
          </p:nvSpPr>
          <p:spPr bwMode="auto">
            <a:xfrm>
              <a:off x="5001" y="2523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4" name="Freeform 42"/>
            <p:cNvSpPr>
              <a:spLocks noChangeAspect="1"/>
            </p:cNvSpPr>
            <p:nvPr/>
          </p:nvSpPr>
          <p:spPr bwMode="auto">
            <a:xfrm>
              <a:off x="4973" y="2379"/>
              <a:ext cx="617" cy="657"/>
            </a:xfrm>
            <a:custGeom>
              <a:avLst/>
              <a:gdLst>
                <a:gd name="T0" fmla="*/ 1 w 1038"/>
                <a:gd name="T1" fmla="*/ 0 h 1102"/>
                <a:gd name="T2" fmla="*/ 1 w 1038"/>
                <a:gd name="T3" fmla="*/ 1 h 1102"/>
                <a:gd name="T4" fmla="*/ 1 w 1038"/>
                <a:gd name="T5" fmla="*/ 1 h 1102"/>
                <a:gd name="T6" fmla="*/ 1 w 1038"/>
                <a:gd name="T7" fmla="*/ 1 h 1102"/>
                <a:gd name="T8" fmla="*/ 1 w 1038"/>
                <a:gd name="T9" fmla="*/ 1 h 1102"/>
                <a:gd name="T10" fmla="*/ 0 w 1038"/>
                <a:gd name="T11" fmla="*/ 1 h 110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38"/>
                <a:gd name="T19" fmla="*/ 0 h 1102"/>
                <a:gd name="T20" fmla="*/ 1038 w 1038"/>
                <a:gd name="T21" fmla="*/ 1102 h 110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38" h="1102">
                  <a:moveTo>
                    <a:pt x="1038" y="0"/>
                  </a:moveTo>
                  <a:cubicBezTo>
                    <a:pt x="1020" y="60"/>
                    <a:pt x="978" y="245"/>
                    <a:pt x="931" y="360"/>
                  </a:cubicBezTo>
                  <a:cubicBezTo>
                    <a:pt x="884" y="475"/>
                    <a:pt x="813" y="604"/>
                    <a:pt x="754" y="690"/>
                  </a:cubicBezTo>
                  <a:cubicBezTo>
                    <a:pt x="695" y="776"/>
                    <a:pt x="650" y="822"/>
                    <a:pt x="577" y="876"/>
                  </a:cubicBezTo>
                  <a:cubicBezTo>
                    <a:pt x="504" y="930"/>
                    <a:pt x="412" y="979"/>
                    <a:pt x="316" y="1017"/>
                  </a:cubicBezTo>
                  <a:cubicBezTo>
                    <a:pt x="220" y="1055"/>
                    <a:pt x="66" y="1084"/>
                    <a:pt x="0" y="110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5" name="Freeform 43"/>
            <p:cNvSpPr>
              <a:spLocks noChangeAspect="1"/>
            </p:cNvSpPr>
            <p:nvPr/>
          </p:nvSpPr>
          <p:spPr bwMode="auto">
            <a:xfrm>
              <a:off x="5028" y="252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6" name="Freeform 44"/>
            <p:cNvSpPr>
              <a:spLocks noChangeAspect="1"/>
            </p:cNvSpPr>
            <p:nvPr/>
          </p:nvSpPr>
          <p:spPr bwMode="auto">
            <a:xfrm>
              <a:off x="3863" y="2477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7" name="Freeform 45"/>
            <p:cNvSpPr>
              <a:spLocks noChangeAspect="1"/>
            </p:cNvSpPr>
            <p:nvPr/>
          </p:nvSpPr>
          <p:spPr bwMode="auto">
            <a:xfrm>
              <a:off x="1505" y="2791"/>
              <a:ext cx="2561" cy="257"/>
            </a:xfrm>
            <a:custGeom>
              <a:avLst/>
              <a:gdLst>
                <a:gd name="T0" fmla="*/ 1 w 4303"/>
                <a:gd name="T1" fmla="*/ 1 h 432"/>
                <a:gd name="T2" fmla="*/ 1 w 4303"/>
                <a:gd name="T3" fmla="*/ 1 h 432"/>
                <a:gd name="T4" fmla="*/ 1 w 4303"/>
                <a:gd name="T5" fmla="*/ 1 h 432"/>
                <a:gd name="T6" fmla="*/ 1 w 4303"/>
                <a:gd name="T7" fmla="*/ 1 h 432"/>
                <a:gd name="T8" fmla="*/ 1 w 4303"/>
                <a:gd name="T9" fmla="*/ 1 h 432"/>
                <a:gd name="T10" fmla="*/ 1 w 4303"/>
                <a:gd name="T11" fmla="*/ 1 h 432"/>
                <a:gd name="T12" fmla="*/ 1 w 4303"/>
                <a:gd name="T13" fmla="*/ 1 h 432"/>
                <a:gd name="T14" fmla="*/ 1 w 4303"/>
                <a:gd name="T15" fmla="*/ 1 h 432"/>
                <a:gd name="T16" fmla="*/ 1 w 4303"/>
                <a:gd name="T17" fmla="*/ 0 h 432"/>
                <a:gd name="T18" fmla="*/ 1 w 4303"/>
                <a:gd name="T19" fmla="*/ 1 h 432"/>
                <a:gd name="T20" fmla="*/ 1 w 4303"/>
                <a:gd name="T21" fmla="*/ 1 h 432"/>
                <a:gd name="T22" fmla="*/ 0 w 4303"/>
                <a:gd name="T23" fmla="*/ 1 h 432"/>
                <a:gd name="T24" fmla="*/ 1 w 4303"/>
                <a:gd name="T25" fmla="*/ 1 h 432"/>
                <a:gd name="T26" fmla="*/ 1 w 4303"/>
                <a:gd name="T27" fmla="*/ 1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3"/>
                <a:gd name="T43" fmla="*/ 0 h 432"/>
                <a:gd name="T44" fmla="*/ 4303 w 4303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3" h="432">
                  <a:moveTo>
                    <a:pt x="4293" y="416"/>
                  </a:moveTo>
                  <a:cubicBezTo>
                    <a:pt x="4293" y="398"/>
                    <a:pt x="4303" y="338"/>
                    <a:pt x="4292" y="310"/>
                  </a:cubicBezTo>
                  <a:cubicBezTo>
                    <a:pt x="4281" y="282"/>
                    <a:pt x="4268" y="265"/>
                    <a:pt x="4229" y="249"/>
                  </a:cubicBezTo>
                  <a:cubicBezTo>
                    <a:pt x="4190" y="233"/>
                    <a:pt x="4211" y="241"/>
                    <a:pt x="4055" y="215"/>
                  </a:cubicBezTo>
                  <a:cubicBezTo>
                    <a:pt x="3899" y="189"/>
                    <a:pt x="3516" y="123"/>
                    <a:pt x="3291" y="90"/>
                  </a:cubicBezTo>
                  <a:cubicBezTo>
                    <a:pt x="3066" y="57"/>
                    <a:pt x="2919" y="32"/>
                    <a:pt x="2703" y="18"/>
                  </a:cubicBezTo>
                  <a:cubicBezTo>
                    <a:pt x="2487" y="4"/>
                    <a:pt x="2366" y="6"/>
                    <a:pt x="1993" y="3"/>
                  </a:cubicBezTo>
                  <a:cubicBezTo>
                    <a:pt x="1620" y="0"/>
                    <a:pt x="756" y="2"/>
                    <a:pt x="465" y="2"/>
                  </a:cubicBezTo>
                  <a:lnTo>
                    <a:pt x="245" y="0"/>
                  </a:lnTo>
                  <a:cubicBezTo>
                    <a:pt x="197" y="7"/>
                    <a:pt x="213" y="2"/>
                    <a:pt x="174" y="44"/>
                  </a:cubicBezTo>
                  <a:cubicBezTo>
                    <a:pt x="135" y="86"/>
                    <a:pt x="38" y="213"/>
                    <a:pt x="9" y="252"/>
                  </a:cubicBezTo>
                  <a:lnTo>
                    <a:pt x="0" y="281"/>
                  </a:lnTo>
                  <a:cubicBezTo>
                    <a:pt x="1" y="297"/>
                    <a:pt x="4" y="325"/>
                    <a:pt x="12" y="350"/>
                  </a:cubicBezTo>
                  <a:cubicBezTo>
                    <a:pt x="20" y="375"/>
                    <a:pt x="41" y="415"/>
                    <a:pt x="48" y="43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8" name="Freeform 46"/>
            <p:cNvSpPr>
              <a:spLocks noChangeAspect="1"/>
            </p:cNvSpPr>
            <p:nvPr/>
          </p:nvSpPr>
          <p:spPr bwMode="auto">
            <a:xfrm>
              <a:off x="3878" y="2898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69" name="Freeform 47"/>
            <p:cNvSpPr>
              <a:spLocks noChangeAspect="1"/>
            </p:cNvSpPr>
            <p:nvPr/>
          </p:nvSpPr>
          <p:spPr bwMode="auto">
            <a:xfrm>
              <a:off x="2812" y="2812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0" name="Freeform 48"/>
            <p:cNvSpPr>
              <a:spLocks noChangeAspect="1"/>
            </p:cNvSpPr>
            <p:nvPr/>
          </p:nvSpPr>
          <p:spPr bwMode="auto">
            <a:xfrm>
              <a:off x="2669" y="2778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1" name="Freeform 49"/>
            <p:cNvSpPr>
              <a:spLocks noChangeAspect="1"/>
            </p:cNvSpPr>
            <p:nvPr/>
          </p:nvSpPr>
          <p:spPr bwMode="auto">
            <a:xfrm>
              <a:off x="717" y="2965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2" name="Freeform 50"/>
            <p:cNvSpPr>
              <a:spLocks noChangeAspect="1"/>
            </p:cNvSpPr>
            <p:nvPr/>
          </p:nvSpPr>
          <p:spPr bwMode="auto">
            <a:xfrm>
              <a:off x="1812" y="281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3" name="Freeform 51"/>
            <p:cNvSpPr>
              <a:spLocks noChangeAspect="1"/>
            </p:cNvSpPr>
            <p:nvPr/>
          </p:nvSpPr>
          <p:spPr bwMode="auto">
            <a:xfrm>
              <a:off x="519" y="2823"/>
              <a:ext cx="1585" cy="145"/>
            </a:xfrm>
            <a:custGeom>
              <a:avLst/>
              <a:gdLst>
                <a:gd name="T0" fmla="*/ 1 w 2662"/>
                <a:gd name="T1" fmla="*/ 1 h 244"/>
                <a:gd name="T2" fmla="*/ 1 w 2662"/>
                <a:gd name="T3" fmla="*/ 1 h 244"/>
                <a:gd name="T4" fmla="*/ 1 w 2662"/>
                <a:gd name="T5" fmla="*/ 1 h 244"/>
                <a:gd name="T6" fmla="*/ 1 w 2662"/>
                <a:gd name="T7" fmla="*/ 1 h 244"/>
                <a:gd name="T8" fmla="*/ 1 w 2662"/>
                <a:gd name="T9" fmla="*/ 1 h 244"/>
                <a:gd name="T10" fmla="*/ 0 w 2662"/>
                <a:gd name="T11" fmla="*/ 0 h 2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62"/>
                <a:gd name="T19" fmla="*/ 0 h 244"/>
                <a:gd name="T20" fmla="*/ 2662 w 2662"/>
                <a:gd name="T21" fmla="*/ 244 h 24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62" h="244">
                  <a:moveTo>
                    <a:pt x="2662" y="244"/>
                  </a:moveTo>
                  <a:cubicBezTo>
                    <a:pt x="2559" y="241"/>
                    <a:pt x="2314" y="231"/>
                    <a:pt x="2042" y="228"/>
                  </a:cubicBezTo>
                  <a:cubicBezTo>
                    <a:pt x="1770" y="225"/>
                    <a:pt x="1303" y="239"/>
                    <a:pt x="1028" y="224"/>
                  </a:cubicBezTo>
                  <a:cubicBezTo>
                    <a:pt x="753" y="209"/>
                    <a:pt x="541" y="162"/>
                    <a:pt x="392" y="136"/>
                  </a:cubicBezTo>
                  <a:cubicBezTo>
                    <a:pt x="243" y="110"/>
                    <a:pt x="197" y="93"/>
                    <a:pt x="132" y="70"/>
                  </a:cubicBezTo>
                  <a:cubicBezTo>
                    <a:pt x="67" y="47"/>
                    <a:pt x="27" y="15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4" name="Freeform 52"/>
            <p:cNvSpPr>
              <a:spLocks noChangeAspect="1"/>
            </p:cNvSpPr>
            <p:nvPr/>
          </p:nvSpPr>
          <p:spPr bwMode="auto">
            <a:xfrm>
              <a:off x="1635" y="2811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5" name="Freeform 53"/>
            <p:cNvSpPr>
              <a:spLocks noChangeAspect="1"/>
            </p:cNvSpPr>
            <p:nvPr/>
          </p:nvSpPr>
          <p:spPr bwMode="auto">
            <a:xfrm>
              <a:off x="793" y="2794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6" name="Freeform 54"/>
            <p:cNvSpPr>
              <a:spLocks noChangeAspect="1"/>
            </p:cNvSpPr>
            <p:nvPr/>
          </p:nvSpPr>
          <p:spPr bwMode="auto">
            <a:xfrm>
              <a:off x="281" y="2619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7" name="Freeform 55"/>
            <p:cNvSpPr>
              <a:spLocks noChangeAspect="1"/>
            </p:cNvSpPr>
            <p:nvPr/>
          </p:nvSpPr>
          <p:spPr bwMode="auto">
            <a:xfrm>
              <a:off x="415" y="2890"/>
              <a:ext cx="88" cy="31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8" name="Freeform 56"/>
            <p:cNvSpPr>
              <a:spLocks noChangeAspect="1"/>
            </p:cNvSpPr>
            <p:nvPr/>
          </p:nvSpPr>
          <p:spPr bwMode="auto">
            <a:xfrm>
              <a:off x="222" y="2513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79" name="Freeform 57"/>
            <p:cNvSpPr>
              <a:spLocks noChangeAspect="1"/>
            </p:cNvSpPr>
            <p:nvPr/>
          </p:nvSpPr>
          <p:spPr bwMode="auto">
            <a:xfrm>
              <a:off x="200" y="2361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0" name="Freeform 58"/>
            <p:cNvSpPr>
              <a:spLocks noChangeAspect="1"/>
            </p:cNvSpPr>
            <p:nvPr/>
          </p:nvSpPr>
          <p:spPr bwMode="auto">
            <a:xfrm flipV="1">
              <a:off x="756" y="947"/>
              <a:ext cx="4760" cy="528"/>
            </a:xfrm>
            <a:custGeom>
              <a:avLst/>
              <a:gdLst>
                <a:gd name="T0" fmla="*/ 1 w 8001"/>
                <a:gd name="T1" fmla="*/ 0 h 887"/>
                <a:gd name="T2" fmla="*/ 1 w 8001"/>
                <a:gd name="T3" fmla="*/ 1 h 887"/>
                <a:gd name="T4" fmla="*/ 1 w 8001"/>
                <a:gd name="T5" fmla="*/ 1 h 887"/>
                <a:gd name="T6" fmla="*/ 1 w 8001"/>
                <a:gd name="T7" fmla="*/ 1 h 887"/>
                <a:gd name="T8" fmla="*/ 1 w 8001"/>
                <a:gd name="T9" fmla="*/ 1 h 887"/>
                <a:gd name="T10" fmla="*/ 1 w 8001"/>
                <a:gd name="T11" fmla="*/ 1 h 887"/>
                <a:gd name="T12" fmla="*/ 1 w 8001"/>
                <a:gd name="T13" fmla="*/ 1 h 887"/>
                <a:gd name="T14" fmla="*/ 1 w 8001"/>
                <a:gd name="T15" fmla="*/ 1 h 887"/>
                <a:gd name="T16" fmla="*/ 1 w 8001"/>
                <a:gd name="T17" fmla="*/ 1 h 887"/>
                <a:gd name="T18" fmla="*/ 1 w 8001"/>
                <a:gd name="T19" fmla="*/ 1 h 887"/>
                <a:gd name="T20" fmla="*/ 1 w 8001"/>
                <a:gd name="T21" fmla="*/ 1 h 887"/>
                <a:gd name="T22" fmla="*/ 1 w 8001"/>
                <a:gd name="T23" fmla="*/ 1 h 887"/>
                <a:gd name="T24" fmla="*/ 0 w 8001"/>
                <a:gd name="T25" fmla="*/ 1 h 88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001"/>
                <a:gd name="T40" fmla="*/ 0 h 887"/>
                <a:gd name="T41" fmla="*/ 8001 w 8001"/>
                <a:gd name="T42" fmla="*/ 887 h 88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001" h="887">
                  <a:moveTo>
                    <a:pt x="8001" y="0"/>
                  </a:moveTo>
                  <a:cubicBezTo>
                    <a:pt x="7978" y="11"/>
                    <a:pt x="7950" y="28"/>
                    <a:pt x="7866" y="71"/>
                  </a:cubicBezTo>
                  <a:cubicBezTo>
                    <a:pt x="7782" y="114"/>
                    <a:pt x="7671" y="180"/>
                    <a:pt x="7496" y="258"/>
                  </a:cubicBezTo>
                  <a:cubicBezTo>
                    <a:pt x="7321" y="336"/>
                    <a:pt x="7085" y="439"/>
                    <a:pt x="6815" y="536"/>
                  </a:cubicBezTo>
                  <a:cubicBezTo>
                    <a:pt x="6545" y="633"/>
                    <a:pt x="6129" y="789"/>
                    <a:pt x="5879" y="838"/>
                  </a:cubicBezTo>
                  <a:cubicBezTo>
                    <a:pt x="5629" y="887"/>
                    <a:pt x="5499" y="842"/>
                    <a:pt x="5318" y="829"/>
                  </a:cubicBezTo>
                  <a:cubicBezTo>
                    <a:pt x="5137" y="816"/>
                    <a:pt x="4955" y="782"/>
                    <a:pt x="4790" y="757"/>
                  </a:cubicBezTo>
                  <a:cubicBezTo>
                    <a:pt x="4625" y="732"/>
                    <a:pt x="4510" y="701"/>
                    <a:pt x="4329" y="680"/>
                  </a:cubicBezTo>
                  <a:cubicBezTo>
                    <a:pt x="4148" y="659"/>
                    <a:pt x="4047" y="642"/>
                    <a:pt x="3705" y="632"/>
                  </a:cubicBezTo>
                  <a:cubicBezTo>
                    <a:pt x="3363" y="622"/>
                    <a:pt x="2701" y="626"/>
                    <a:pt x="2279" y="622"/>
                  </a:cubicBezTo>
                  <a:cubicBezTo>
                    <a:pt x="1857" y="618"/>
                    <a:pt x="1505" y="619"/>
                    <a:pt x="1175" y="608"/>
                  </a:cubicBezTo>
                  <a:cubicBezTo>
                    <a:pt x="845" y="597"/>
                    <a:pt x="493" y="567"/>
                    <a:pt x="297" y="555"/>
                  </a:cubicBezTo>
                  <a:cubicBezTo>
                    <a:pt x="101" y="543"/>
                    <a:pt x="62" y="540"/>
                    <a:pt x="0" y="53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1" name="Freeform 59"/>
            <p:cNvSpPr>
              <a:spLocks noChangeAspect="1"/>
            </p:cNvSpPr>
            <p:nvPr/>
          </p:nvSpPr>
          <p:spPr bwMode="auto">
            <a:xfrm flipV="1">
              <a:off x="4411" y="1015"/>
              <a:ext cx="1142" cy="490"/>
            </a:xfrm>
            <a:custGeom>
              <a:avLst/>
              <a:gdLst>
                <a:gd name="T0" fmla="*/ 1 w 1920"/>
                <a:gd name="T1" fmla="*/ 0 h 821"/>
                <a:gd name="T2" fmla="*/ 1 w 1920"/>
                <a:gd name="T3" fmla="*/ 1 h 821"/>
                <a:gd name="T4" fmla="*/ 1 w 1920"/>
                <a:gd name="T5" fmla="*/ 1 h 821"/>
                <a:gd name="T6" fmla="*/ 1 w 1920"/>
                <a:gd name="T7" fmla="*/ 1 h 821"/>
                <a:gd name="T8" fmla="*/ 1 w 1920"/>
                <a:gd name="T9" fmla="*/ 1 h 821"/>
                <a:gd name="T10" fmla="*/ 1 w 1920"/>
                <a:gd name="T11" fmla="*/ 1 h 821"/>
                <a:gd name="T12" fmla="*/ 1 w 1920"/>
                <a:gd name="T13" fmla="*/ 1 h 821"/>
                <a:gd name="T14" fmla="*/ 0 w 1920"/>
                <a:gd name="T15" fmla="*/ 1 h 8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20"/>
                <a:gd name="T25" fmla="*/ 0 h 821"/>
                <a:gd name="T26" fmla="*/ 1920 w 1920"/>
                <a:gd name="T27" fmla="*/ 821 h 8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20" h="821">
                  <a:moveTo>
                    <a:pt x="1920" y="0"/>
                  </a:moveTo>
                  <a:cubicBezTo>
                    <a:pt x="1908" y="10"/>
                    <a:pt x="1876" y="35"/>
                    <a:pt x="1846" y="59"/>
                  </a:cubicBezTo>
                  <a:cubicBezTo>
                    <a:pt x="1816" y="83"/>
                    <a:pt x="1772" y="120"/>
                    <a:pt x="1740" y="145"/>
                  </a:cubicBezTo>
                  <a:cubicBezTo>
                    <a:pt x="1708" y="170"/>
                    <a:pt x="1711" y="174"/>
                    <a:pt x="1653" y="208"/>
                  </a:cubicBezTo>
                  <a:cubicBezTo>
                    <a:pt x="1595" y="242"/>
                    <a:pt x="1508" y="293"/>
                    <a:pt x="1390" y="347"/>
                  </a:cubicBezTo>
                  <a:cubicBezTo>
                    <a:pt x="1272" y="401"/>
                    <a:pt x="1109" y="471"/>
                    <a:pt x="946" y="533"/>
                  </a:cubicBezTo>
                  <a:cubicBezTo>
                    <a:pt x="783" y="595"/>
                    <a:pt x="571" y="672"/>
                    <a:pt x="413" y="720"/>
                  </a:cubicBezTo>
                  <a:cubicBezTo>
                    <a:pt x="255" y="768"/>
                    <a:pt x="86" y="800"/>
                    <a:pt x="0" y="82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2" name="Freeform 60"/>
            <p:cNvSpPr>
              <a:spLocks noChangeAspect="1"/>
            </p:cNvSpPr>
            <p:nvPr/>
          </p:nvSpPr>
          <p:spPr bwMode="auto">
            <a:xfrm flipV="1">
              <a:off x="4229" y="937"/>
              <a:ext cx="938" cy="77"/>
            </a:xfrm>
            <a:custGeom>
              <a:avLst/>
              <a:gdLst>
                <a:gd name="T0" fmla="*/ 0 w 1578"/>
                <a:gd name="T1" fmla="*/ 0 h 130"/>
                <a:gd name="T2" fmla="*/ 1 w 1578"/>
                <a:gd name="T3" fmla="*/ 1 h 130"/>
                <a:gd name="T4" fmla="*/ 1 w 1578"/>
                <a:gd name="T5" fmla="*/ 1 h 130"/>
                <a:gd name="T6" fmla="*/ 1 w 1578"/>
                <a:gd name="T7" fmla="*/ 1 h 130"/>
                <a:gd name="T8" fmla="*/ 1 w 1578"/>
                <a:gd name="T9" fmla="*/ 1 h 130"/>
                <a:gd name="T10" fmla="*/ 1 w 1578"/>
                <a:gd name="T11" fmla="*/ 1 h 130"/>
                <a:gd name="T12" fmla="*/ 1 w 1578"/>
                <a:gd name="T13" fmla="*/ 1 h 1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78"/>
                <a:gd name="T22" fmla="*/ 0 h 130"/>
                <a:gd name="T23" fmla="*/ 1578 w 1578"/>
                <a:gd name="T24" fmla="*/ 130 h 1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78" h="130">
                  <a:moveTo>
                    <a:pt x="0" y="0"/>
                  </a:moveTo>
                  <a:cubicBezTo>
                    <a:pt x="8" y="14"/>
                    <a:pt x="12" y="64"/>
                    <a:pt x="46" y="84"/>
                  </a:cubicBezTo>
                  <a:cubicBezTo>
                    <a:pt x="80" y="104"/>
                    <a:pt x="97" y="114"/>
                    <a:pt x="205" y="121"/>
                  </a:cubicBezTo>
                  <a:cubicBezTo>
                    <a:pt x="313" y="128"/>
                    <a:pt x="532" y="130"/>
                    <a:pt x="695" y="128"/>
                  </a:cubicBezTo>
                  <a:cubicBezTo>
                    <a:pt x="858" y="126"/>
                    <a:pt x="1067" y="118"/>
                    <a:pt x="1185" y="108"/>
                  </a:cubicBezTo>
                  <a:cubicBezTo>
                    <a:pt x="1303" y="98"/>
                    <a:pt x="1336" y="72"/>
                    <a:pt x="1401" y="65"/>
                  </a:cubicBezTo>
                  <a:cubicBezTo>
                    <a:pt x="1466" y="58"/>
                    <a:pt x="1541" y="65"/>
                    <a:pt x="1578" y="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3" name="Freeform 61"/>
            <p:cNvSpPr>
              <a:spLocks noChangeAspect="1"/>
            </p:cNvSpPr>
            <p:nvPr/>
          </p:nvSpPr>
          <p:spPr bwMode="auto">
            <a:xfrm flipV="1">
              <a:off x="5001" y="884"/>
              <a:ext cx="517" cy="475"/>
            </a:xfrm>
            <a:custGeom>
              <a:avLst/>
              <a:gdLst>
                <a:gd name="T0" fmla="*/ 0 w 871"/>
                <a:gd name="T1" fmla="*/ 1 h 798"/>
                <a:gd name="T2" fmla="*/ 1 w 871"/>
                <a:gd name="T3" fmla="*/ 1 h 798"/>
                <a:gd name="T4" fmla="*/ 1 w 871"/>
                <a:gd name="T5" fmla="*/ 1 h 798"/>
                <a:gd name="T6" fmla="*/ 1 w 871"/>
                <a:gd name="T7" fmla="*/ 1 h 798"/>
                <a:gd name="T8" fmla="*/ 1 w 871"/>
                <a:gd name="T9" fmla="*/ 1 h 798"/>
                <a:gd name="T10" fmla="*/ 1 w 871"/>
                <a:gd name="T11" fmla="*/ 1 h 798"/>
                <a:gd name="T12" fmla="*/ 1 w 871"/>
                <a:gd name="T13" fmla="*/ 1 h 798"/>
                <a:gd name="T14" fmla="*/ 1 w 871"/>
                <a:gd name="T15" fmla="*/ 1 h 798"/>
                <a:gd name="T16" fmla="*/ 1 w 871"/>
                <a:gd name="T17" fmla="*/ 0 h 798"/>
                <a:gd name="T18" fmla="*/ 1 w 871"/>
                <a:gd name="T19" fmla="*/ 1 h 798"/>
                <a:gd name="T20" fmla="*/ 1 w 871"/>
                <a:gd name="T21" fmla="*/ 1 h 798"/>
                <a:gd name="T22" fmla="*/ 1 w 871"/>
                <a:gd name="T23" fmla="*/ 1 h 798"/>
                <a:gd name="T24" fmla="*/ 1 w 871"/>
                <a:gd name="T25" fmla="*/ 1 h 798"/>
                <a:gd name="T26" fmla="*/ 1 w 871"/>
                <a:gd name="T27" fmla="*/ 1 h 798"/>
                <a:gd name="T28" fmla="*/ 1 w 871"/>
                <a:gd name="T29" fmla="*/ 1 h 798"/>
                <a:gd name="T30" fmla="*/ 1 w 871"/>
                <a:gd name="T31" fmla="*/ 1 h 798"/>
                <a:gd name="T32" fmla="*/ 1 w 871"/>
                <a:gd name="T33" fmla="*/ 1 h 798"/>
                <a:gd name="T34" fmla="*/ 1 w 871"/>
                <a:gd name="T35" fmla="*/ 1 h 798"/>
                <a:gd name="T36" fmla="*/ 0 w 871"/>
                <a:gd name="T37" fmla="*/ 1 h 79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71"/>
                <a:gd name="T58" fmla="*/ 0 h 798"/>
                <a:gd name="T59" fmla="*/ 871 w 871"/>
                <a:gd name="T60" fmla="*/ 798 h 79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71" h="798">
                  <a:moveTo>
                    <a:pt x="0" y="782"/>
                  </a:moveTo>
                  <a:lnTo>
                    <a:pt x="6" y="768"/>
                  </a:lnTo>
                  <a:cubicBezTo>
                    <a:pt x="44" y="750"/>
                    <a:pt x="160" y="712"/>
                    <a:pt x="231" y="674"/>
                  </a:cubicBezTo>
                  <a:cubicBezTo>
                    <a:pt x="302" y="636"/>
                    <a:pt x="369" y="597"/>
                    <a:pt x="430" y="542"/>
                  </a:cubicBezTo>
                  <a:cubicBezTo>
                    <a:pt x="491" y="487"/>
                    <a:pt x="549" y="415"/>
                    <a:pt x="598" y="346"/>
                  </a:cubicBezTo>
                  <a:cubicBezTo>
                    <a:pt x="647" y="277"/>
                    <a:pt x="694" y="181"/>
                    <a:pt x="726" y="126"/>
                  </a:cubicBezTo>
                  <a:cubicBezTo>
                    <a:pt x="758" y="71"/>
                    <a:pt x="777" y="36"/>
                    <a:pt x="791" y="17"/>
                  </a:cubicBezTo>
                  <a:lnTo>
                    <a:pt x="809" y="9"/>
                  </a:lnTo>
                  <a:cubicBezTo>
                    <a:pt x="817" y="6"/>
                    <a:pt x="831" y="0"/>
                    <a:pt x="840" y="0"/>
                  </a:cubicBezTo>
                  <a:cubicBezTo>
                    <a:pt x="849" y="0"/>
                    <a:pt x="861" y="2"/>
                    <a:pt x="866" y="6"/>
                  </a:cubicBezTo>
                  <a:cubicBezTo>
                    <a:pt x="871" y="10"/>
                    <a:pt x="869" y="17"/>
                    <a:pt x="870" y="23"/>
                  </a:cubicBezTo>
                  <a:lnTo>
                    <a:pt x="870" y="41"/>
                  </a:lnTo>
                  <a:cubicBezTo>
                    <a:pt x="848" y="94"/>
                    <a:pt x="788" y="250"/>
                    <a:pt x="737" y="338"/>
                  </a:cubicBezTo>
                  <a:cubicBezTo>
                    <a:pt x="686" y="426"/>
                    <a:pt x="633" y="504"/>
                    <a:pt x="563" y="570"/>
                  </a:cubicBezTo>
                  <a:cubicBezTo>
                    <a:pt x="493" y="636"/>
                    <a:pt x="397" y="693"/>
                    <a:pt x="318" y="731"/>
                  </a:cubicBezTo>
                  <a:cubicBezTo>
                    <a:pt x="239" y="769"/>
                    <a:pt x="128" y="786"/>
                    <a:pt x="86" y="797"/>
                  </a:cubicBezTo>
                  <a:lnTo>
                    <a:pt x="66" y="798"/>
                  </a:lnTo>
                  <a:cubicBezTo>
                    <a:pt x="56" y="797"/>
                    <a:pt x="34" y="795"/>
                    <a:pt x="23" y="792"/>
                  </a:cubicBezTo>
                  <a:cubicBezTo>
                    <a:pt x="12" y="789"/>
                    <a:pt x="5" y="784"/>
                    <a:pt x="0" y="782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4" name="Freeform 62"/>
            <p:cNvSpPr>
              <a:spLocks noChangeAspect="1"/>
            </p:cNvSpPr>
            <p:nvPr/>
          </p:nvSpPr>
          <p:spPr bwMode="auto">
            <a:xfrm>
              <a:off x="4973" y="845"/>
              <a:ext cx="616" cy="651"/>
            </a:xfrm>
            <a:custGeom>
              <a:avLst/>
              <a:gdLst>
                <a:gd name="T0" fmla="*/ 200392 w 529"/>
                <a:gd name="T1" fmla="*/ 227598 h 558"/>
                <a:gd name="T2" fmla="*/ 180177 w 529"/>
                <a:gd name="T3" fmla="*/ 154732 h 558"/>
                <a:gd name="T4" fmla="*/ 146018 w 529"/>
                <a:gd name="T5" fmla="*/ 85892 h 558"/>
                <a:gd name="T6" fmla="*/ 112042 w 529"/>
                <a:gd name="T7" fmla="*/ 46588 h 558"/>
                <a:gd name="T8" fmla="*/ 61187 w 529"/>
                <a:gd name="T9" fmla="*/ 17263 h 558"/>
                <a:gd name="T10" fmla="*/ 0 w 529"/>
                <a:gd name="T11" fmla="*/ 0 h 5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9"/>
                <a:gd name="T19" fmla="*/ 0 h 558"/>
                <a:gd name="T20" fmla="*/ 529 w 529"/>
                <a:gd name="T21" fmla="*/ 558 h 55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9" h="558">
                  <a:moveTo>
                    <a:pt x="529" y="558"/>
                  </a:moveTo>
                  <a:cubicBezTo>
                    <a:pt x="520" y="528"/>
                    <a:pt x="499" y="437"/>
                    <a:pt x="475" y="379"/>
                  </a:cubicBezTo>
                  <a:cubicBezTo>
                    <a:pt x="451" y="321"/>
                    <a:pt x="415" y="254"/>
                    <a:pt x="385" y="210"/>
                  </a:cubicBezTo>
                  <a:cubicBezTo>
                    <a:pt x="355" y="167"/>
                    <a:pt x="332" y="143"/>
                    <a:pt x="295" y="115"/>
                  </a:cubicBezTo>
                  <a:cubicBezTo>
                    <a:pt x="257" y="88"/>
                    <a:pt x="210" y="63"/>
                    <a:pt x="161" y="43"/>
                  </a:cubicBezTo>
                  <a:cubicBezTo>
                    <a:pt x="112" y="24"/>
                    <a:pt x="34" y="9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5" name="Freeform 63"/>
            <p:cNvSpPr>
              <a:spLocks noChangeAspect="1"/>
            </p:cNvSpPr>
            <p:nvPr/>
          </p:nvSpPr>
          <p:spPr bwMode="auto">
            <a:xfrm flipV="1">
              <a:off x="5028" y="885"/>
              <a:ext cx="483" cy="472"/>
            </a:xfrm>
            <a:custGeom>
              <a:avLst/>
              <a:gdLst>
                <a:gd name="T0" fmla="*/ 1 w 811"/>
                <a:gd name="T1" fmla="*/ 0 h 794"/>
                <a:gd name="T2" fmla="*/ 1 w 811"/>
                <a:gd name="T3" fmla="*/ 1 h 794"/>
                <a:gd name="T4" fmla="*/ 1 w 811"/>
                <a:gd name="T5" fmla="*/ 1 h 794"/>
                <a:gd name="T6" fmla="*/ 1 w 811"/>
                <a:gd name="T7" fmla="*/ 1 h 794"/>
                <a:gd name="T8" fmla="*/ 0 w 811"/>
                <a:gd name="T9" fmla="*/ 1 h 79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11"/>
                <a:gd name="T16" fmla="*/ 0 h 794"/>
                <a:gd name="T17" fmla="*/ 811 w 811"/>
                <a:gd name="T18" fmla="*/ 794 h 79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11" h="794">
                  <a:moveTo>
                    <a:pt x="811" y="0"/>
                  </a:moveTo>
                  <a:cubicBezTo>
                    <a:pt x="792" y="41"/>
                    <a:pt x="744" y="163"/>
                    <a:pt x="696" y="248"/>
                  </a:cubicBezTo>
                  <a:cubicBezTo>
                    <a:pt x="648" y="333"/>
                    <a:pt x="596" y="432"/>
                    <a:pt x="523" y="509"/>
                  </a:cubicBezTo>
                  <a:cubicBezTo>
                    <a:pt x="450" y="586"/>
                    <a:pt x="345" y="663"/>
                    <a:pt x="258" y="710"/>
                  </a:cubicBezTo>
                  <a:cubicBezTo>
                    <a:pt x="171" y="757"/>
                    <a:pt x="54" y="777"/>
                    <a:pt x="0" y="79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6" name="Freeform 64"/>
            <p:cNvSpPr>
              <a:spLocks noChangeAspect="1"/>
            </p:cNvSpPr>
            <p:nvPr/>
          </p:nvSpPr>
          <p:spPr bwMode="auto">
            <a:xfrm flipV="1">
              <a:off x="3863" y="866"/>
              <a:ext cx="1578" cy="539"/>
            </a:xfrm>
            <a:custGeom>
              <a:avLst/>
              <a:gdLst>
                <a:gd name="T0" fmla="*/ 0 w 2653"/>
                <a:gd name="T1" fmla="*/ 1 h 905"/>
                <a:gd name="T2" fmla="*/ 1 w 2653"/>
                <a:gd name="T3" fmla="*/ 1 h 905"/>
                <a:gd name="T4" fmla="*/ 1 w 2653"/>
                <a:gd name="T5" fmla="*/ 1 h 905"/>
                <a:gd name="T6" fmla="*/ 1 w 2653"/>
                <a:gd name="T7" fmla="*/ 1 h 905"/>
                <a:gd name="T8" fmla="*/ 1 w 2653"/>
                <a:gd name="T9" fmla="*/ 1 h 905"/>
                <a:gd name="T10" fmla="*/ 1 w 2653"/>
                <a:gd name="T11" fmla="*/ 1 h 905"/>
                <a:gd name="T12" fmla="*/ 1 w 2653"/>
                <a:gd name="T13" fmla="*/ 1 h 905"/>
                <a:gd name="T14" fmla="*/ 1 w 2653"/>
                <a:gd name="T15" fmla="*/ 1 h 905"/>
                <a:gd name="T16" fmla="*/ 1 w 2653"/>
                <a:gd name="T17" fmla="*/ 0 h 90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53"/>
                <a:gd name="T28" fmla="*/ 0 h 905"/>
                <a:gd name="T29" fmla="*/ 2653 w 2653"/>
                <a:gd name="T30" fmla="*/ 905 h 90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53" h="905">
                  <a:moveTo>
                    <a:pt x="0" y="871"/>
                  </a:moveTo>
                  <a:cubicBezTo>
                    <a:pt x="56" y="874"/>
                    <a:pt x="196" y="884"/>
                    <a:pt x="335" y="890"/>
                  </a:cubicBezTo>
                  <a:cubicBezTo>
                    <a:pt x="474" y="896"/>
                    <a:pt x="641" y="905"/>
                    <a:pt x="834" y="905"/>
                  </a:cubicBezTo>
                  <a:cubicBezTo>
                    <a:pt x="1027" y="905"/>
                    <a:pt x="1321" y="899"/>
                    <a:pt x="1492" y="888"/>
                  </a:cubicBezTo>
                  <a:cubicBezTo>
                    <a:pt x="1663" y="877"/>
                    <a:pt x="1751" y="868"/>
                    <a:pt x="1863" y="839"/>
                  </a:cubicBezTo>
                  <a:cubicBezTo>
                    <a:pt x="1975" y="810"/>
                    <a:pt x="2073" y="768"/>
                    <a:pt x="2162" y="716"/>
                  </a:cubicBezTo>
                  <a:cubicBezTo>
                    <a:pt x="2251" y="664"/>
                    <a:pt x="2327" y="604"/>
                    <a:pt x="2396" y="526"/>
                  </a:cubicBezTo>
                  <a:cubicBezTo>
                    <a:pt x="2465" y="448"/>
                    <a:pt x="2533" y="336"/>
                    <a:pt x="2576" y="248"/>
                  </a:cubicBezTo>
                  <a:cubicBezTo>
                    <a:pt x="2619" y="160"/>
                    <a:pt x="2637" y="52"/>
                    <a:pt x="265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7" name="Freeform 65"/>
            <p:cNvSpPr>
              <a:spLocks noChangeAspect="1"/>
            </p:cNvSpPr>
            <p:nvPr/>
          </p:nvSpPr>
          <p:spPr bwMode="auto">
            <a:xfrm>
              <a:off x="1505" y="834"/>
              <a:ext cx="2559" cy="257"/>
            </a:xfrm>
            <a:custGeom>
              <a:avLst/>
              <a:gdLst>
                <a:gd name="T0" fmla="*/ 1 w 4302"/>
                <a:gd name="T1" fmla="*/ 1 h 432"/>
                <a:gd name="T2" fmla="*/ 1 w 4302"/>
                <a:gd name="T3" fmla="*/ 1 h 432"/>
                <a:gd name="T4" fmla="*/ 1 w 4302"/>
                <a:gd name="T5" fmla="*/ 1 h 432"/>
                <a:gd name="T6" fmla="*/ 1 w 4302"/>
                <a:gd name="T7" fmla="*/ 1 h 432"/>
                <a:gd name="T8" fmla="*/ 1 w 4302"/>
                <a:gd name="T9" fmla="*/ 1 h 432"/>
                <a:gd name="T10" fmla="*/ 1 w 4302"/>
                <a:gd name="T11" fmla="*/ 1 h 432"/>
                <a:gd name="T12" fmla="*/ 1 w 4302"/>
                <a:gd name="T13" fmla="*/ 1 h 432"/>
                <a:gd name="T14" fmla="*/ 1 w 4302"/>
                <a:gd name="T15" fmla="*/ 1 h 432"/>
                <a:gd name="T16" fmla="*/ 1 w 4302"/>
                <a:gd name="T17" fmla="*/ 1 h 432"/>
                <a:gd name="T18" fmla="*/ 1 w 4302"/>
                <a:gd name="T19" fmla="*/ 1 h 432"/>
                <a:gd name="T20" fmla="*/ 1 w 4302"/>
                <a:gd name="T21" fmla="*/ 1 h 432"/>
                <a:gd name="T22" fmla="*/ 0 w 4302"/>
                <a:gd name="T23" fmla="*/ 1 h 432"/>
                <a:gd name="T24" fmla="*/ 1 w 4302"/>
                <a:gd name="T25" fmla="*/ 1 h 432"/>
                <a:gd name="T26" fmla="*/ 1 w 4302"/>
                <a:gd name="T27" fmla="*/ 0 h 43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02"/>
                <a:gd name="T43" fmla="*/ 0 h 432"/>
                <a:gd name="T44" fmla="*/ 4302 w 4302"/>
                <a:gd name="T45" fmla="*/ 432 h 43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02" h="432">
                  <a:moveTo>
                    <a:pt x="4289" y="15"/>
                  </a:moveTo>
                  <a:cubicBezTo>
                    <a:pt x="4289" y="33"/>
                    <a:pt x="4302" y="94"/>
                    <a:pt x="4292" y="122"/>
                  </a:cubicBezTo>
                  <a:cubicBezTo>
                    <a:pt x="4282" y="150"/>
                    <a:pt x="4268" y="167"/>
                    <a:pt x="4229" y="183"/>
                  </a:cubicBezTo>
                  <a:cubicBezTo>
                    <a:pt x="4190" y="199"/>
                    <a:pt x="4211" y="191"/>
                    <a:pt x="4055" y="217"/>
                  </a:cubicBezTo>
                  <a:cubicBezTo>
                    <a:pt x="3899" y="243"/>
                    <a:pt x="3516" y="309"/>
                    <a:pt x="3291" y="342"/>
                  </a:cubicBezTo>
                  <a:cubicBezTo>
                    <a:pt x="3066" y="375"/>
                    <a:pt x="2919" y="400"/>
                    <a:pt x="2703" y="414"/>
                  </a:cubicBezTo>
                  <a:cubicBezTo>
                    <a:pt x="2487" y="428"/>
                    <a:pt x="2366" y="426"/>
                    <a:pt x="1993" y="429"/>
                  </a:cubicBezTo>
                  <a:cubicBezTo>
                    <a:pt x="1620" y="432"/>
                    <a:pt x="756" y="430"/>
                    <a:pt x="465" y="430"/>
                  </a:cubicBezTo>
                  <a:lnTo>
                    <a:pt x="245" y="432"/>
                  </a:lnTo>
                  <a:cubicBezTo>
                    <a:pt x="197" y="425"/>
                    <a:pt x="213" y="430"/>
                    <a:pt x="174" y="388"/>
                  </a:cubicBezTo>
                  <a:cubicBezTo>
                    <a:pt x="135" y="346"/>
                    <a:pt x="38" y="219"/>
                    <a:pt x="9" y="180"/>
                  </a:cubicBezTo>
                  <a:lnTo>
                    <a:pt x="0" y="151"/>
                  </a:lnTo>
                  <a:cubicBezTo>
                    <a:pt x="1" y="135"/>
                    <a:pt x="4" y="107"/>
                    <a:pt x="12" y="82"/>
                  </a:cubicBezTo>
                  <a:cubicBezTo>
                    <a:pt x="20" y="57"/>
                    <a:pt x="41" y="17"/>
                    <a:pt x="48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8" name="Freeform 66"/>
            <p:cNvSpPr>
              <a:spLocks noChangeAspect="1"/>
            </p:cNvSpPr>
            <p:nvPr/>
          </p:nvSpPr>
          <p:spPr bwMode="auto">
            <a:xfrm flipV="1">
              <a:off x="3878" y="910"/>
              <a:ext cx="685" cy="74"/>
            </a:xfrm>
            <a:custGeom>
              <a:avLst/>
              <a:gdLst>
                <a:gd name="T0" fmla="*/ 0 w 1152"/>
                <a:gd name="T1" fmla="*/ 1 h 123"/>
                <a:gd name="T2" fmla="*/ 1 w 1152"/>
                <a:gd name="T3" fmla="*/ 1 h 123"/>
                <a:gd name="T4" fmla="*/ 1 w 1152"/>
                <a:gd name="T5" fmla="*/ 1 h 123"/>
                <a:gd name="T6" fmla="*/ 1 w 1152"/>
                <a:gd name="T7" fmla="*/ 1 h 123"/>
                <a:gd name="T8" fmla="*/ 1 w 1152"/>
                <a:gd name="T9" fmla="*/ 1 h 123"/>
                <a:gd name="T10" fmla="*/ 1 w 1152"/>
                <a:gd name="T11" fmla="*/ 1 h 1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52"/>
                <a:gd name="T19" fmla="*/ 0 h 123"/>
                <a:gd name="T20" fmla="*/ 1152 w 1152"/>
                <a:gd name="T21" fmla="*/ 123 h 12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52" h="123">
                  <a:moveTo>
                    <a:pt x="0" y="122"/>
                  </a:moveTo>
                  <a:cubicBezTo>
                    <a:pt x="56" y="122"/>
                    <a:pt x="243" y="123"/>
                    <a:pt x="333" y="120"/>
                  </a:cubicBezTo>
                  <a:cubicBezTo>
                    <a:pt x="423" y="117"/>
                    <a:pt x="450" y="118"/>
                    <a:pt x="543" y="102"/>
                  </a:cubicBezTo>
                  <a:cubicBezTo>
                    <a:pt x="636" y="86"/>
                    <a:pt x="821" y="37"/>
                    <a:pt x="894" y="21"/>
                  </a:cubicBezTo>
                  <a:cubicBezTo>
                    <a:pt x="967" y="5"/>
                    <a:pt x="941" y="6"/>
                    <a:pt x="984" y="3"/>
                  </a:cubicBezTo>
                  <a:cubicBezTo>
                    <a:pt x="1027" y="0"/>
                    <a:pt x="1117" y="3"/>
                    <a:pt x="1152" y="3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89" name="Freeform 67"/>
            <p:cNvSpPr>
              <a:spLocks noChangeAspect="1"/>
            </p:cNvSpPr>
            <p:nvPr/>
          </p:nvSpPr>
          <p:spPr bwMode="auto">
            <a:xfrm flipV="1">
              <a:off x="2812" y="929"/>
              <a:ext cx="943" cy="141"/>
            </a:xfrm>
            <a:custGeom>
              <a:avLst/>
              <a:gdLst>
                <a:gd name="T0" fmla="*/ 1 w 1584"/>
                <a:gd name="T1" fmla="*/ 1 h 237"/>
                <a:gd name="T2" fmla="*/ 1 w 1584"/>
                <a:gd name="T3" fmla="*/ 1 h 237"/>
                <a:gd name="T4" fmla="*/ 1 w 1584"/>
                <a:gd name="T5" fmla="*/ 0 h 237"/>
                <a:gd name="T6" fmla="*/ 0 w 1584"/>
                <a:gd name="T7" fmla="*/ 1 h 237"/>
                <a:gd name="T8" fmla="*/ 1 w 1584"/>
                <a:gd name="T9" fmla="*/ 1 h 237"/>
                <a:gd name="T10" fmla="*/ 1 w 1584"/>
                <a:gd name="T11" fmla="*/ 1 h 237"/>
                <a:gd name="T12" fmla="*/ 1 w 1584"/>
                <a:gd name="T13" fmla="*/ 1 h 237"/>
                <a:gd name="T14" fmla="*/ 1 w 1584"/>
                <a:gd name="T15" fmla="*/ 1 h 237"/>
                <a:gd name="T16" fmla="*/ 1 w 1584"/>
                <a:gd name="T17" fmla="*/ 1 h 2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4"/>
                <a:gd name="T28" fmla="*/ 0 h 237"/>
                <a:gd name="T29" fmla="*/ 1584 w 1584"/>
                <a:gd name="T30" fmla="*/ 237 h 2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4" h="237">
                  <a:moveTo>
                    <a:pt x="1485" y="147"/>
                  </a:moveTo>
                  <a:cubicBezTo>
                    <a:pt x="1208" y="99"/>
                    <a:pt x="925" y="51"/>
                    <a:pt x="684" y="27"/>
                  </a:cubicBezTo>
                  <a:cubicBezTo>
                    <a:pt x="443" y="3"/>
                    <a:pt x="150" y="4"/>
                    <a:pt x="36" y="0"/>
                  </a:cubicBezTo>
                  <a:lnTo>
                    <a:pt x="0" y="3"/>
                  </a:lnTo>
                  <a:cubicBezTo>
                    <a:pt x="8" y="43"/>
                    <a:pt x="66" y="198"/>
                    <a:pt x="84" y="237"/>
                  </a:cubicBezTo>
                  <a:lnTo>
                    <a:pt x="111" y="237"/>
                  </a:lnTo>
                  <a:cubicBezTo>
                    <a:pt x="176" y="237"/>
                    <a:pt x="300" y="235"/>
                    <a:pt x="477" y="234"/>
                  </a:cubicBezTo>
                  <a:cubicBezTo>
                    <a:pt x="654" y="233"/>
                    <a:pt x="989" y="234"/>
                    <a:pt x="1173" y="234"/>
                  </a:cubicBezTo>
                  <a:cubicBezTo>
                    <a:pt x="1357" y="234"/>
                    <a:pt x="1499" y="237"/>
                    <a:pt x="1584" y="23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0" name="Freeform 68"/>
            <p:cNvSpPr>
              <a:spLocks noChangeAspect="1"/>
            </p:cNvSpPr>
            <p:nvPr/>
          </p:nvSpPr>
          <p:spPr bwMode="auto">
            <a:xfrm flipV="1">
              <a:off x="2669" y="843"/>
              <a:ext cx="82" cy="261"/>
            </a:xfrm>
            <a:custGeom>
              <a:avLst/>
              <a:gdLst>
                <a:gd name="T0" fmla="*/ 1 w 137"/>
                <a:gd name="T1" fmla="*/ 1 h 439"/>
                <a:gd name="T2" fmla="*/ 1 w 137"/>
                <a:gd name="T3" fmla="*/ 1 h 439"/>
                <a:gd name="T4" fmla="*/ 1 w 137"/>
                <a:gd name="T5" fmla="*/ 1 h 439"/>
                <a:gd name="T6" fmla="*/ 1 w 137"/>
                <a:gd name="T7" fmla="*/ 1 h 43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439"/>
                <a:gd name="T14" fmla="*/ 137 w 137"/>
                <a:gd name="T15" fmla="*/ 439 h 43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439">
                  <a:moveTo>
                    <a:pt x="8" y="1"/>
                  </a:moveTo>
                  <a:cubicBezTo>
                    <a:pt x="9" y="10"/>
                    <a:pt x="0" y="0"/>
                    <a:pt x="17" y="52"/>
                  </a:cubicBezTo>
                  <a:cubicBezTo>
                    <a:pt x="34" y="104"/>
                    <a:pt x="90" y="248"/>
                    <a:pt x="110" y="313"/>
                  </a:cubicBezTo>
                  <a:cubicBezTo>
                    <a:pt x="130" y="378"/>
                    <a:pt x="132" y="413"/>
                    <a:pt x="137" y="43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1" name="Freeform 69"/>
            <p:cNvSpPr>
              <a:spLocks noChangeAspect="1"/>
            </p:cNvSpPr>
            <p:nvPr/>
          </p:nvSpPr>
          <p:spPr bwMode="auto">
            <a:xfrm flipV="1">
              <a:off x="717" y="860"/>
              <a:ext cx="3055" cy="57"/>
            </a:xfrm>
            <a:custGeom>
              <a:avLst/>
              <a:gdLst>
                <a:gd name="T0" fmla="*/ 1 w 5134"/>
                <a:gd name="T1" fmla="*/ 1 h 96"/>
                <a:gd name="T2" fmla="*/ 1 w 5134"/>
                <a:gd name="T3" fmla="*/ 1 h 96"/>
                <a:gd name="T4" fmla="*/ 1 w 5134"/>
                <a:gd name="T5" fmla="*/ 1 h 96"/>
                <a:gd name="T6" fmla="*/ 1 w 5134"/>
                <a:gd name="T7" fmla="*/ 1 h 96"/>
                <a:gd name="T8" fmla="*/ 1 w 5134"/>
                <a:gd name="T9" fmla="*/ 1 h 96"/>
                <a:gd name="T10" fmla="*/ 1 w 5134"/>
                <a:gd name="T11" fmla="*/ 1 h 96"/>
                <a:gd name="T12" fmla="*/ 0 w 5134"/>
                <a:gd name="T13" fmla="*/ 1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134"/>
                <a:gd name="T22" fmla="*/ 0 h 96"/>
                <a:gd name="T23" fmla="*/ 5134 w 5134"/>
                <a:gd name="T24" fmla="*/ 96 h 9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134" h="96">
                  <a:moveTo>
                    <a:pt x="5134" y="5"/>
                  </a:moveTo>
                  <a:cubicBezTo>
                    <a:pt x="4856" y="6"/>
                    <a:pt x="3983" y="10"/>
                    <a:pt x="3465" y="11"/>
                  </a:cubicBezTo>
                  <a:cubicBezTo>
                    <a:pt x="2947" y="12"/>
                    <a:pt x="2345" y="0"/>
                    <a:pt x="2025" y="12"/>
                  </a:cubicBezTo>
                  <a:cubicBezTo>
                    <a:pt x="1705" y="24"/>
                    <a:pt x="1725" y="70"/>
                    <a:pt x="1542" y="83"/>
                  </a:cubicBezTo>
                  <a:cubicBezTo>
                    <a:pt x="1359" y="96"/>
                    <a:pt x="1071" y="92"/>
                    <a:pt x="927" y="92"/>
                  </a:cubicBezTo>
                  <a:cubicBezTo>
                    <a:pt x="783" y="92"/>
                    <a:pt x="829" y="90"/>
                    <a:pt x="675" y="86"/>
                  </a:cubicBezTo>
                  <a:cubicBezTo>
                    <a:pt x="521" y="82"/>
                    <a:pt x="141" y="72"/>
                    <a:pt x="0" y="6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2" name="Freeform 70"/>
            <p:cNvSpPr>
              <a:spLocks noChangeAspect="1"/>
            </p:cNvSpPr>
            <p:nvPr/>
          </p:nvSpPr>
          <p:spPr bwMode="auto">
            <a:xfrm flipV="1">
              <a:off x="1812" y="931"/>
              <a:ext cx="803" cy="140"/>
            </a:xfrm>
            <a:custGeom>
              <a:avLst/>
              <a:gdLst>
                <a:gd name="T0" fmla="*/ 0 w 1349"/>
                <a:gd name="T1" fmla="*/ 0 h 235"/>
                <a:gd name="T2" fmla="*/ 1 w 1349"/>
                <a:gd name="T3" fmla="*/ 0 h 235"/>
                <a:gd name="T4" fmla="*/ 1 w 1349"/>
                <a:gd name="T5" fmla="*/ 0 h 235"/>
                <a:gd name="T6" fmla="*/ 1 w 1349"/>
                <a:gd name="T7" fmla="*/ 0 h 235"/>
                <a:gd name="T8" fmla="*/ 1 w 1349"/>
                <a:gd name="T9" fmla="*/ 0 h 235"/>
                <a:gd name="T10" fmla="*/ 1 w 1349"/>
                <a:gd name="T11" fmla="*/ 1 h 235"/>
                <a:gd name="T12" fmla="*/ 1 w 1349"/>
                <a:gd name="T13" fmla="*/ 1 h 235"/>
                <a:gd name="T14" fmla="*/ 1 w 1349"/>
                <a:gd name="T15" fmla="*/ 1 h 235"/>
                <a:gd name="T16" fmla="*/ 1 w 1349"/>
                <a:gd name="T17" fmla="*/ 1 h 235"/>
                <a:gd name="T18" fmla="*/ 1 w 1349"/>
                <a:gd name="T19" fmla="*/ 1 h 235"/>
                <a:gd name="T20" fmla="*/ 1 w 1349"/>
                <a:gd name="T21" fmla="*/ 1 h 235"/>
                <a:gd name="T22" fmla="*/ 1 w 1349"/>
                <a:gd name="T23" fmla="*/ 1 h 235"/>
                <a:gd name="T24" fmla="*/ 1 w 1349"/>
                <a:gd name="T25" fmla="*/ 1 h 235"/>
                <a:gd name="T26" fmla="*/ 0 w 1349"/>
                <a:gd name="T27" fmla="*/ 0 h 2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349"/>
                <a:gd name="T43" fmla="*/ 0 h 235"/>
                <a:gd name="T44" fmla="*/ 1349 w 1349"/>
                <a:gd name="T45" fmla="*/ 235 h 2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349" h="235">
                  <a:moveTo>
                    <a:pt x="0" y="0"/>
                  </a:moveTo>
                  <a:lnTo>
                    <a:pt x="36" y="0"/>
                  </a:lnTo>
                  <a:cubicBezTo>
                    <a:pt x="151" y="0"/>
                    <a:pt x="490" y="0"/>
                    <a:pt x="690" y="0"/>
                  </a:cubicBezTo>
                  <a:cubicBezTo>
                    <a:pt x="890" y="0"/>
                    <a:pt x="1141" y="0"/>
                    <a:pt x="1239" y="0"/>
                  </a:cubicBezTo>
                  <a:lnTo>
                    <a:pt x="1278" y="0"/>
                  </a:lnTo>
                  <a:lnTo>
                    <a:pt x="1287" y="39"/>
                  </a:lnTo>
                  <a:cubicBezTo>
                    <a:pt x="1296" y="70"/>
                    <a:pt x="1323" y="152"/>
                    <a:pt x="1333" y="185"/>
                  </a:cubicBezTo>
                  <a:lnTo>
                    <a:pt x="1349" y="235"/>
                  </a:lnTo>
                  <a:lnTo>
                    <a:pt x="1320" y="234"/>
                  </a:lnTo>
                  <a:cubicBezTo>
                    <a:pt x="1214" y="233"/>
                    <a:pt x="912" y="233"/>
                    <a:pt x="711" y="231"/>
                  </a:cubicBezTo>
                  <a:cubicBezTo>
                    <a:pt x="510" y="229"/>
                    <a:pt x="219" y="227"/>
                    <a:pt x="114" y="225"/>
                  </a:cubicBezTo>
                  <a:lnTo>
                    <a:pt x="81" y="222"/>
                  </a:lnTo>
                  <a:lnTo>
                    <a:pt x="39" y="1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3" name="Freeform 71"/>
            <p:cNvSpPr>
              <a:spLocks noChangeAspect="1"/>
            </p:cNvSpPr>
            <p:nvPr/>
          </p:nvSpPr>
          <p:spPr bwMode="auto">
            <a:xfrm>
              <a:off x="511" y="914"/>
              <a:ext cx="1593" cy="153"/>
            </a:xfrm>
            <a:custGeom>
              <a:avLst/>
              <a:gdLst>
                <a:gd name="T0" fmla="*/ 1 w 2676"/>
                <a:gd name="T1" fmla="*/ 0 h 257"/>
                <a:gd name="T2" fmla="*/ 1 w 2676"/>
                <a:gd name="T3" fmla="*/ 1 h 257"/>
                <a:gd name="T4" fmla="*/ 1 w 2676"/>
                <a:gd name="T5" fmla="*/ 1 h 257"/>
                <a:gd name="T6" fmla="*/ 1 w 2676"/>
                <a:gd name="T7" fmla="*/ 1 h 257"/>
                <a:gd name="T8" fmla="*/ 1 w 2676"/>
                <a:gd name="T9" fmla="*/ 1 h 257"/>
                <a:gd name="T10" fmla="*/ 0 w 2676"/>
                <a:gd name="T11" fmla="*/ 1 h 2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76"/>
                <a:gd name="T19" fmla="*/ 0 h 257"/>
                <a:gd name="T20" fmla="*/ 2676 w 2676"/>
                <a:gd name="T21" fmla="*/ 257 h 25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76" h="257">
                  <a:moveTo>
                    <a:pt x="2676" y="0"/>
                  </a:moveTo>
                  <a:cubicBezTo>
                    <a:pt x="2573" y="3"/>
                    <a:pt x="2328" y="13"/>
                    <a:pt x="2056" y="16"/>
                  </a:cubicBezTo>
                  <a:cubicBezTo>
                    <a:pt x="1784" y="19"/>
                    <a:pt x="1317" y="5"/>
                    <a:pt x="1042" y="20"/>
                  </a:cubicBezTo>
                  <a:cubicBezTo>
                    <a:pt x="767" y="35"/>
                    <a:pt x="555" y="82"/>
                    <a:pt x="406" y="108"/>
                  </a:cubicBezTo>
                  <a:cubicBezTo>
                    <a:pt x="257" y="134"/>
                    <a:pt x="214" y="149"/>
                    <a:pt x="146" y="174"/>
                  </a:cubicBezTo>
                  <a:cubicBezTo>
                    <a:pt x="78" y="199"/>
                    <a:pt x="30" y="240"/>
                    <a:pt x="0" y="25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4" name="Freeform 72"/>
            <p:cNvSpPr>
              <a:spLocks noChangeAspect="1"/>
            </p:cNvSpPr>
            <p:nvPr/>
          </p:nvSpPr>
          <p:spPr bwMode="auto">
            <a:xfrm flipV="1">
              <a:off x="1635" y="942"/>
              <a:ext cx="205" cy="129"/>
            </a:xfrm>
            <a:custGeom>
              <a:avLst/>
              <a:gdLst>
                <a:gd name="T0" fmla="*/ 1 w 385"/>
                <a:gd name="T1" fmla="*/ 0 h 218"/>
                <a:gd name="T2" fmla="*/ 1 w 385"/>
                <a:gd name="T3" fmla="*/ 1 h 218"/>
                <a:gd name="T4" fmla="*/ 1 w 385"/>
                <a:gd name="T5" fmla="*/ 1 h 218"/>
                <a:gd name="T6" fmla="*/ 1 w 385"/>
                <a:gd name="T7" fmla="*/ 1 h 218"/>
                <a:gd name="T8" fmla="*/ 1 w 385"/>
                <a:gd name="T9" fmla="*/ 1 h 218"/>
                <a:gd name="T10" fmla="*/ 1 w 385"/>
                <a:gd name="T11" fmla="*/ 0 h 218"/>
                <a:gd name="T12" fmla="*/ 1 w 385"/>
                <a:gd name="T13" fmla="*/ 0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5"/>
                <a:gd name="T22" fmla="*/ 0 h 218"/>
                <a:gd name="T23" fmla="*/ 385 w 385"/>
                <a:gd name="T24" fmla="*/ 218 h 2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5" h="218">
                  <a:moveTo>
                    <a:pt x="301" y="0"/>
                  </a:moveTo>
                  <a:lnTo>
                    <a:pt x="385" y="218"/>
                  </a:lnTo>
                  <a:lnTo>
                    <a:pt x="56" y="216"/>
                  </a:lnTo>
                  <a:cubicBezTo>
                    <a:pt x="0" y="204"/>
                    <a:pt x="37" y="179"/>
                    <a:pt x="50" y="148"/>
                  </a:cubicBezTo>
                  <a:lnTo>
                    <a:pt x="137" y="28"/>
                  </a:lnTo>
                  <a:cubicBezTo>
                    <a:pt x="158" y="3"/>
                    <a:pt x="151" y="5"/>
                    <a:pt x="178" y="0"/>
                  </a:cubicBezTo>
                  <a:lnTo>
                    <a:pt x="301" y="0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5" name="Freeform 73"/>
            <p:cNvSpPr>
              <a:spLocks noChangeAspect="1"/>
            </p:cNvSpPr>
            <p:nvPr/>
          </p:nvSpPr>
          <p:spPr bwMode="auto">
            <a:xfrm flipV="1">
              <a:off x="793" y="941"/>
              <a:ext cx="813" cy="147"/>
            </a:xfrm>
            <a:custGeom>
              <a:avLst/>
              <a:gdLst>
                <a:gd name="T0" fmla="*/ 1 w 1365"/>
                <a:gd name="T1" fmla="*/ 1 h 247"/>
                <a:gd name="T2" fmla="*/ 1 w 1365"/>
                <a:gd name="T3" fmla="*/ 1 h 247"/>
                <a:gd name="T4" fmla="*/ 1 w 1365"/>
                <a:gd name="T5" fmla="*/ 1 h 247"/>
                <a:gd name="T6" fmla="*/ 1 w 1365"/>
                <a:gd name="T7" fmla="*/ 1 h 247"/>
                <a:gd name="T8" fmla="*/ 1 w 1365"/>
                <a:gd name="T9" fmla="*/ 1 h 247"/>
                <a:gd name="T10" fmla="*/ 1 w 1365"/>
                <a:gd name="T11" fmla="*/ 1 h 247"/>
                <a:gd name="T12" fmla="*/ 1 w 1365"/>
                <a:gd name="T13" fmla="*/ 1 h 247"/>
                <a:gd name="T14" fmla="*/ 1 w 1365"/>
                <a:gd name="T15" fmla="*/ 1 h 247"/>
                <a:gd name="T16" fmla="*/ 1 w 1365"/>
                <a:gd name="T17" fmla="*/ 1 h 247"/>
                <a:gd name="T18" fmla="*/ 1 w 1365"/>
                <a:gd name="T19" fmla="*/ 1 h 247"/>
                <a:gd name="T20" fmla="*/ 1 w 1365"/>
                <a:gd name="T21" fmla="*/ 0 h 247"/>
                <a:gd name="T22" fmla="*/ 1 w 1365"/>
                <a:gd name="T23" fmla="*/ 1 h 2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65"/>
                <a:gd name="T37" fmla="*/ 0 h 247"/>
                <a:gd name="T38" fmla="*/ 1365 w 1365"/>
                <a:gd name="T39" fmla="*/ 247 h 2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65" h="247">
                  <a:moveTo>
                    <a:pt x="1365" y="7"/>
                  </a:moveTo>
                  <a:lnTo>
                    <a:pt x="1169" y="245"/>
                  </a:lnTo>
                  <a:lnTo>
                    <a:pt x="1140" y="247"/>
                  </a:lnTo>
                  <a:cubicBezTo>
                    <a:pt x="1070" y="246"/>
                    <a:pt x="880" y="247"/>
                    <a:pt x="747" y="240"/>
                  </a:cubicBezTo>
                  <a:cubicBezTo>
                    <a:pt x="614" y="233"/>
                    <a:pt x="455" y="218"/>
                    <a:pt x="339" y="205"/>
                  </a:cubicBezTo>
                  <a:cubicBezTo>
                    <a:pt x="223" y="192"/>
                    <a:pt x="96" y="173"/>
                    <a:pt x="48" y="159"/>
                  </a:cubicBezTo>
                  <a:cubicBezTo>
                    <a:pt x="0" y="145"/>
                    <a:pt x="29" y="136"/>
                    <a:pt x="48" y="123"/>
                  </a:cubicBezTo>
                  <a:cubicBezTo>
                    <a:pt x="67" y="110"/>
                    <a:pt x="122" y="95"/>
                    <a:pt x="161" y="81"/>
                  </a:cubicBezTo>
                  <a:lnTo>
                    <a:pt x="285" y="40"/>
                  </a:lnTo>
                  <a:cubicBezTo>
                    <a:pt x="359" y="28"/>
                    <a:pt x="424" y="16"/>
                    <a:pt x="603" y="9"/>
                  </a:cubicBezTo>
                  <a:cubicBezTo>
                    <a:pt x="782" y="2"/>
                    <a:pt x="1231" y="0"/>
                    <a:pt x="1358" y="0"/>
                  </a:cubicBezTo>
                  <a:lnTo>
                    <a:pt x="1365" y="7"/>
                  </a:ln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6" name="Freeform 74"/>
            <p:cNvSpPr>
              <a:spLocks noChangeAspect="1"/>
            </p:cNvSpPr>
            <p:nvPr/>
          </p:nvSpPr>
          <p:spPr bwMode="auto">
            <a:xfrm flipV="1">
              <a:off x="283" y="852"/>
              <a:ext cx="444" cy="405"/>
            </a:xfrm>
            <a:custGeom>
              <a:avLst/>
              <a:gdLst>
                <a:gd name="T0" fmla="*/ 417 w 444"/>
                <a:gd name="T1" fmla="*/ 400 h 405"/>
                <a:gd name="T2" fmla="*/ 437 w 444"/>
                <a:gd name="T3" fmla="*/ 386 h 405"/>
                <a:gd name="T4" fmla="*/ 414 w 444"/>
                <a:gd name="T5" fmla="*/ 364 h 405"/>
                <a:gd name="T6" fmla="*/ 289 w 444"/>
                <a:gd name="T7" fmla="*/ 333 h 405"/>
                <a:gd name="T8" fmla="*/ 190 w 444"/>
                <a:gd name="T9" fmla="*/ 283 h 405"/>
                <a:gd name="T10" fmla="*/ 118 w 444"/>
                <a:gd name="T11" fmla="*/ 204 h 405"/>
                <a:gd name="T12" fmla="*/ 56 w 444"/>
                <a:gd name="T13" fmla="*/ 84 h 405"/>
                <a:gd name="T14" fmla="*/ 32 w 444"/>
                <a:gd name="T15" fmla="*/ 15 h 405"/>
                <a:gd name="T16" fmla="*/ 7 w 444"/>
                <a:gd name="T17" fmla="*/ 1 h 405"/>
                <a:gd name="T18" fmla="*/ 0 w 444"/>
                <a:gd name="T19" fmla="*/ 0 h 405"/>
                <a:gd name="T20" fmla="*/ 36 w 444"/>
                <a:gd name="T21" fmla="*/ 113 h 405"/>
                <a:gd name="T22" fmla="*/ 95 w 444"/>
                <a:gd name="T23" fmla="*/ 230 h 405"/>
                <a:gd name="T24" fmla="*/ 140 w 444"/>
                <a:gd name="T25" fmla="*/ 291 h 405"/>
                <a:gd name="T26" fmla="*/ 186 w 444"/>
                <a:gd name="T27" fmla="*/ 333 h 405"/>
                <a:gd name="T28" fmla="*/ 196 w 444"/>
                <a:gd name="T29" fmla="*/ 360 h 405"/>
                <a:gd name="T30" fmla="*/ 210 w 444"/>
                <a:gd name="T31" fmla="*/ 363 h 405"/>
                <a:gd name="T32" fmla="*/ 258 w 444"/>
                <a:gd name="T33" fmla="*/ 369 h 405"/>
                <a:gd name="T34" fmla="*/ 417 w 444"/>
                <a:gd name="T35" fmla="*/ 400 h 40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44"/>
                <a:gd name="T55" fmla="*/ 0 h 405"/>
                <a:gd name="T56" fmla="*/ 444 w 444"/>
                <a:gd name="T57" fmla="*/ 405 h 40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44" h="405">
                  <a:moveTo>
                    <a:pt x="417" y="400"/>
                  </a:moveTo>
                  <a:cubicBezTo>
                    <a:pt x="444" y="405"/>
                    <a:pt x="437" y="392"/>
                    <a:pt x="437" y="386"/>
                  </a:cubicBezTo>
                  <a:cubicBezTo>
                    <a:pt x="436" y="380"/>
                    <a:pt x="438" y="373"/>
                    <a:pt x="414" y="364"/>
                  </a:cubicBezTo>
                  <a:cubicBezTo>
                    <a:pt x="389" y="355"/>
                    <a:pt x="326" y="346"/>
                    <a:pt x="289" y="333"/>
                  </a:cubicBezTo>
                  <a:cubicBezTo>
                    <a:pt x="252" y="319"/>
                    <a:pt x="218" y="304"/>
                    <a:pt x="190" y="283"/>
                  </a:cubicBezTo>
                  <a:cubicBezTo>
                    <a:pt x="161" y="261"/>
                    <a:pt x="140" y="237"/>
                    <a:pt x="118" y="204"/>
                  </a:cubicBezTo>
                  <a:cubicBezTo>
                    <a:pt x="96" y="170"/>
                    <a:pt x="70" y="115"/>
                    <a:pt x="56" y="84"/>
                  </a:cubicBezTo>
                  <a:cubicBezTo>
                    <a:pt x="42" y="52"/>
                    <a:pt x="41" y="29"/>
                    <a:pt x="32" y="15"/>
                  </a:cubicBezTo>
                  <a:lnTo>
                    <a:pt x="7" y="1"/>
                  </a:lnTo>
                  <a:lnTo>
                    <a:pt x="0" y="0"/>
                  </a:lnTo>
                  <a:cubicBezTo>
                    <a:pt x="5" y="18"/>
                    <a:pt x="21" y="74"/>
                    <a:pt x="36" y="113"/>
                  </a:cubicBezTo>
                  <a:cubicBezTo>
                    <a:pt x="52" y="151"/>
                    <a:pt x="78" y="201"/>
                    <a:pt x="95" y="230"/>
                  </a:cubicBezTo>
                  <a:cubicBezTo>
                    <a:pt x="112" y="260"/>
                    <a:pt x="125" y="274"/>
                    <a:pt x="140" y="291"/>
                  </a:cubicBezTo>
                  <a:cubicBezTo>
                    <a:pt x="155" y="308"/>
                    <a:pt x="177" y="322"/>
                    <a:pt x="186" y="333"/>
                  </a:cubicBezTo>
                  <a:lnTo>
                    <a:pt x="196" y="360"/>
                  </a:lnTo>
                  <a:lnTo>
                    <a:pt x="210" y="363"/>
                  </a:lnTo>
                  <a:cubicBezTo>
                    <a:pt x="220" y="365"/>
                    <a:pt x="224" y="363"/>
                    <a:pt x="258" y="369"/>
                  </a:cubicBezTo>
                  <a:cubicBezTo>
                    <a:pt x="292" y="375"/>
                    <a:pt x="384" y="394"/>
                    <a:pt x="417" y="40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7" name="Freeform 75"/>
            <p:cNvSpPr>
              <a:spLocks noChangeAspect="1"/>
            </p:cNvSpPr>
            <p:nvPr/>
          </p:nvSpPr>
          <p:spPr bwMode="auto">
            <a:xfrm flipV="1">
              <a:off x="415" y="957"/>
              <a:ext cx="88" cy="30"/>
            </a:xfrm>
            <a:custGeom>
              <a:avLst/>
              <a:gdLst>
                <a:gd name="T0" fmla="*/ 1 w 147"/>
                <a:gd name="T1" fmla="*/ 1 h 52"/>
                <a:gd name="T2" fmla="*/ 1 w 147"/>
                <a:gd name="T3" fmla="*/ 1 h 52"/>
                <a:gd name="T4" fmla="*/ 1 w 147"/>
                <a:gd name="T5" fmla="*/ 1 h 52"/>
                <a:gd name="T6" fmla="*/ 1 w 147"/>
                <a:gd name="T7" fmla="*/ 1 h 5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7"/>
                <a:gd name="T13" fmla="*/ 0 h 52"/>
                <a:gd name="T14" fmla="*/ 147 w 147"/>
                <a:gd name="T15" fmla="*/ 52 h 5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7" h="52">
                  <a:moveTo>
                    <a:pt x="15" y="42"/>
                  </a:moveTo>
                  <a:cubicBezTo>
                    <a:pt x="14" y="36"/>
                    <a:pt x="0" y="8"/>
                    <a:pt x="9" y="4"/>
                  </a:cubicBezTo>
                  <a:cubicBezTo>
                    <a:pt x="18" y="0"/>
                    <a:pt x="49" y="10"/>
                    <a:pt x="72" y="18"/>
                  </a:cubicBezTo>
                  <a:cubicBezTo>
                    <a:pt x="95" y="26"/>
                    <a:pt x="132" y="45"/>
                    <a:pt x="147" y="5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8" name="Freeform 76"/>
            <p:cNvSpPr>
              <a:spLocks noChangeAspect="1"/>
            </p:cNvSpPr>
            <p:nvPr/>
          </p:nvSpPr>
          <p:spPr bwMode="auto">
            <a:xfrm flipV="1">
              <a:off x="222" y="1279"/>
              <a:ext cx="57" cy="90"/>
            </a:xfrm>
            <a:custGeom>
              <a:avLst/>
              <a:gdLst>
                <a:gd name="T0" fmla="*/ 1 w 96"/>
                <a:gd name="T1" fmla="*/ 1 h 150"/>
                <a:gd name="T2" fmla="*/ 1 w 96"/>
                <a:gd name="T3" fmla="*/ 1 h 150"/>
                <a:gd name="T4" fmla="*/ 1 w 96"/>
                <a:gd name="T5" fmla="*/ 1 h 150"/>
                <a:gd name="T6" fmla="*/ 0 w 96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6"/>
                <a:gd name="T13" fmla="*/ 0 h 150"/>
                <a:gd name="T14" fmla="*/ 96 w 96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6" h="150">
                  <a:moveTo>
                    <a:pt x="96" y="150"/>
                  </a:moveTo>
                  <a:cubicBezTo>
                    <a:pt x="91" y="148"/>
                    <a:pt x="73" y="148"/>
                    <a:pt x="63" y="141"/>
                  </a:cubicBezTo>
                  <a:cubicBezTo>
                    <a:pt x="53" y="134"/>
                    <a:pt x="44" y="132"/>
                    <a:pt x="33" y="108"/>
                  </a:cubicBezTo>
                  <a:cubicBezTo>
                    <a:pt x="22" y="84"/>
                    <a:pt x="7" y="22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599" name="Freeform 77"/>
            <p:cNvSpPr>
              <a:spLocks noChangeAspect="1"/>
            </p:cNvSpPr>
            <p:nvPr/>
          </p:nvSpPr>
          <p:spPr bwMode="auto">
            <a:xfrm flipV="1">
              <a:off x="200" y="1328"/>
              <a:ext cx="70" cy="193"/>
            </a:xfrm>
            <a:custGeom>
              <a:avLst/>
              <a:gdLst>
                <a:gd name="T0" fmla="*/ 1 w 117"/>
                <a:gd name="T1" fmla="*/ 1 h 325"/>
                <a:gd name="T2" fmla="*/ 1 w 117"/>
                <a:gd name="T3" fmla="*/ 1 h 325"/>
                <a:gd name="T4" fmla="*/ 1 w 117"/>
                <a:gd name="T5" fmla="*/ 1 h 325"/>
                <a:gd name="T6" fmla="*/ 0 w 117"/>
                <a:gd name="T7" fmla="*/ 0 h 3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7"/>
                <a:gd name="T13" fmla="*/ 0 h 325"/>
                <a:gd name="T14" fmla="*/ 117 w 117"/>
                <a:gd name="T15" fmla="*/ 325 h 3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7" h="325">
                  <a:moveTo>
                    <a:pt x="117" y="325"/>
                  </a:moveTo>
                  <a:cubicBezTo>
                    <a:pt x="110" y="322"/>
                    <a:pt x="83" y="324"/>
                    <a:pt x="70" y="304"/>
                  </a:cubicBezTo>
                  <a:cubicBezTo>
                    <a:pt x="57" y="284"/>
                    <a:pt x="54" y="258"/>
                    <a:pt x="42" y="207"/>
                  </a:cubicBezTo>
                  <a:cubicBezTo>
                    <a:pt x="30" y="156"/>
                    <a:pt x="9" y="43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0" name="Freeform 78"/>
            <p:cNvSpPr>
              <a:spLocks noChangeAspect="1"/>
            </p:cNvSpPr>
            <p:nvPr/>
          </p:nvSpPr>
          <p:spPr bwMode="auto">
            <a:xfrm>
              <a:off x="3607" y="3015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1" name="Freeform 79"/>
            <p:cNvSpPr>
              <a:spLocks noChangeAspect="1"/>
            </p:cNvSpPr>
            <p:nvPr/>
          </p:nvSpPr>
          <p:spPr bwMode="auto">
            <a:xfrm>
              <a:off x="3681" y="2955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2" name="Freeform 80"/>
            <p:cNvSpPr>
              <a:spLocks noChangeAspect="1"/>
            </p:cNvSpPr>
            <p:nvPr/>
          </p:nvSpPr>
          <p:spPr bwMode="auto">
            <a:xfrm>
              <a:off x="3621" y="2965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3" name="Freeform 81"/>
            <p:cNvSpPr>
              <a:spLocks noChangeAspect="1"/>
            </p:cNvSpPr>
            <p:nvPr/>
          </p:nvSpPr>
          <p:spPr bwMode="auto">
            <a:xfrm>
              <a:off x="3754" y="2990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4" name="Freeform 82"/>
            <p:cNvSpPr>
              <a:spLocks noChangeAspect="1"/>
            </p:cNvSpPr>
            <p:nvPr/>
          </p:nvSpPr>
          <p:spPr bwMode="auto">
            <a:xfrm>
              <a:off x="3699" y="2899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5" name="Freeform 83"/>
            <p:cNvSpPr>
              <a:spLocks noChangeAspect="1"/>
            </p:cNvSpPr>
            <p:nvPr/>
          </p:nvSpPr>
          <p:spPr bwMode="auto">
            <a:xfrm flipV="1">
              <a:off x="3607" y="619"/>
              <a:ext cx="255" cy="248"/>
            </a:xfrm>
            <a:custGeom>
              <a:avLst/>
              <a:gdLst>
                <a:gd name="T0" fmla="*/ 0 w 426"/>
                <a:gd name="T1" fmla="*/ 1 h 417"/>
                <a:gd name="T2" fmla="*/ 1 w 426"/>
                <a:gd name="T3" fmla="*/ 1 h 417"/>
                <a:gd name="T4" fmla="*/ 1 w 426"/>
                <a:gd name="T5" fmla="*/ 1 h 417"/>
                <a:gd name="T6" fmla="*/ 1 w 426"/>
                <a:gd name="T7" fmla="*/ 1 h 417"/>
                <a:gd name="T8" fmla="*/ 1 w 426"/>
                <a:gd name="T9" fmla="*/ 1 h 417"/>
                <a:gd name="T10" fmla="*/ 1 w 426"/>
                <a:gd name="T11" fmla="*/ 1 h 417"/>
                <a:gd name="T12" fmla="*/ 1 w 426"/>
                <a:gd name="T13" fmla="*/ 1 h 417"/>
                <a:gd name="T14" fmla="*/ 1 w 426"/>
                <a:gd name="T15" fmla="*/ 1 h 417"/>
                <a:gd name="T16" fmla="*/ 1 w 426"/>
                <a:gd name="T17" fmla="*/ 1 h 417"/>
                <a:gd name="T18" fmla="*/ 1 w 426"/>
                <a:gd name="T19" fmla="*/ 1 h 417"/>
                <a:gd name="T20" fmla="*/ 1 w 426"/>
                <a:gd name="T21" fmla="*/ 1 h 417"/>
                <a:gd name="T22" fmla="*/ 1 w 426"/>
                <a:gd name="T23" fmla="*/ 1 h 417"/>
                <a:gd name="T24" fmla="*/ 1 w 426"/>
                <a:gd name="T25" fmla="*/ 1 h 417"/>
                <a:gd name="T26" fmla="*/ 0 w 426"/>
                <a:gd name="T27" fmla="*/ 1 h 4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26"/>
                <a:gd name="T43" fmla="*/ 0 h 417"/>
                <a:gd name="T44" fmla="*/ 426 w 426"/>
                <a:gd name="T45" fmla="*/ 417 h 4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26" h="417">
                  <a:moveTo>
                    <a:pt x="0" y="380"/>
                  </a:moveTo>
                  <a:lnTo>
                    <a:pt x="5" y="394"/>
                  </a:lnTo>
                  <a:cubicBezTo>
                    <a:pt x="10" y="398"/>
                    <a:pt x="19" y="403"/>
                    <a:pt x="32" y="407"/>
                  </a:cubicBezTo>
                  <a:cubicBezTo>
                    <a:pt x="45" y="411"/>
                    <a:pt x="70" y="415"/>
                    <a:pt x="83" y="416"/>
                  </a:cubicBezTo>
                  <a:cubicBezTo>
                    <a:pt x="96" y="417"/>
                    <a:pt x="106" y="414"/>
                    <a:pt x="113" y="413"/>
                  </a:cubicBezTo>
                  <a:lnTo>
                    <a:pt x="126" y="409"/>
                  </a:lnTo>
                  <a:cubicBezTo>
                    <a:pt x="144" y="396"/>
                    <a:pt x="184" y="375"/>
                    <a:pt x="219" y="337"/>
                  </a:cubicBezTo>
                  <a:cubicBezTo>
                    <a:pt x="254" y="299"/>
                    <a:pt x="303" y="232"/>
                    <a:pt x="338" y="179"/>
                  </a:cubicBezTo>
                  <a:cubicBezTo>
                    <a:pt x="373" y="126"/>
                    <a:pt x="414" y="49"/>
                    <a:pt x="426" y="20"/>
                  </a:cubicBezTo>
                  <a:lnTo>
                    <a:pt x="407" y="7"/>
                  </a:lnTo>
                  <a:lnTo>
                    <a:pt x="219" y="7"/>
                  </a:lnTo>
                  <a:lnTo>
                    <a:pt x="207" y="13"/>
                  </a:lnTo>
                  <a:cubicBezTo>
                    <a:pt x="199" y="22"/>
                    <a:pt x="205" y="0"/>
                    <a:pt x="170" y="61"/>
                  </a:cubicBezTo>
                  <a:cubicBezTo>
                    <a:pt x="135" y="122"/>
                    <a:pt x="35" y="314"/>
                    <a:pt x="0" y="380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6" name="Freeform 84"/>
            <p:cNvSpPr>
              <a:spLocks noChangeAspect="1"/>
            </p:cNvSpPr>
            <p:nvPr/>
          </p:nvSpPr>
          <p:spPr bwMode="auto">
            <a:xfrm flipV="1">
              <a:off x="3681" y="627"/>
              <a:ext cx="204" cy="300"/>
            </a:xfrm>
            <a:custGeom>
              <a:avLst/>
              <a:gdLst>
                <a:gd name="T0" fmla="*/ 0 w 343"/>
                <a:gd name="T1" fmla="*/ 1 h 504"/>
                <a:gd name="T2" fmla="*/ 1 w 343"/>
                <a:gd name="T3" fmla="*/ 1 h 504"/>
                <a:gd name="T4" fmla="*/ 1 w 343"/>
                <a:gd name="T5" fmla="*/ 1 h 504"/>
                <a:gd name="T6" fmla="*/ 1 w 343"/>
                <a:gd name="T7" fmla="*/ 1 h 504"/>
                <a:gd name="T8" fmla="*/ 1 w 343"/>
                <a:gd name="T9" fmla="*/ 1 h 504"/>
                <a:gd name="T10" fmla="*/ 1 w 343"/>
                <a:gd name="T11" fmla="*/ 0 h 50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3"/>
                <a:gd name="T19" fmla="*/ 0 h 504"/>
                <a:gd name="T20" fmla="*/ 343 w 343"/>
                <a:gd name="T21" fmla="*/ 504 h 50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3" h="504">
                  <a:moveTo>
                    <a:pt x="0" y="495"/>
                  </a:moveTo>
                  <a:cubicBezTo>
                    <a:pt x="6" y="492"/>
                    <a:pt x="10" y="504"/>
                    <a:pt x="37" y="474"/>
                  </a:cubicBezTo>
                  <a:cubicBezTo>
                    <a:pt x="64" y="444"/>
                    <a:pt x="127" y="368"/>
                    <a:pt x="163" y="316"/>
                  </a:cubicBezTo>
                  <a:cubicBezTo>
                    <a:pt x="199" y="264"/>
                    <a:pt x="228" y="204"/>
                    <a:pt x="253" y="162"/>
                  </a:cubicBezTo>
                  <a:cubicBezTo>
                    <a:pt x="278" y="120"/>
                    <a:pt x="297" y="93"/>
                    <a:pt x="312" y="66"/>
                  </a:cubicBezTo>
                  <a:cubicBezTo>
                    <a:pt x="327" y="39"/>
                    <a:pt x="337" y="14"/>
                    <a:pt x="34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7" name="Freeform 85"/>
            <p:cNvSpPr>
              <a:spLocks noChangeAspect="1"/>
            </p:cNvSpPr>
            <p:nvPr/>
          </p:nvSpPr>
          <p:spPr bwMode="auto">
            <a:xfrm flipV="1">
              <a:off x="3621" y="632"/>
              <a:ext cx="242" cy="285"/>
            </a:xfrm>
            <a:custGeom>
              <a:avLst/>
              <a:gdLst>
                <a:gd name="T0" fmla="*/ 1 w 406"/>
                <a:gd name="T1" fmla="*/ 1 h 481"/>
                <a:gd name="T2" fmla="*/ 1 w 406"/>
                <a:gd name="T3" fmla="*/ 1 h 481"/>
                <a:gd name="T4" fmla="*/ 1 w 406"/>
                <a:gd name="T5" fmla="*/ 1 h 481"/>
                <a:gd name="T6" fmla="*/ 1 w 406"/>
                <a:gd name="T7" fmla="*/ 1 h 481"/>
                <a:gd name="T8" fmla="*/ 1 w 406"/>
                <a:gd name="T9" fmla="*/ 1 h 481"/>
                <a:gd name="T10" fmla="*/ 1 w 406"/>
                <a:gd name="T11" fmla="*/ 1 h 481"/>
                <a:gd name="T12" fmla="*/ 1 w 406"/>
                <a:gd name="T13" fmla="*/ 1 h 481"/>
                <a:gd name="T14" fmla="*/ 1 w 406"/>
                <a:gd name="T15" fmla="*/ 0 h 481"/>
                <a:gd name="T16" fmla="*/ 1 w 406"/>
                <a:gd name="T17" fmla="*/ 1 h 481"/>
                <a:gd name="T18" fmla="*/ 1 w 406"/>
                <a:gd name="T19" fmla="*/ 1 h 4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6"/>
                <a:gd name="T31" fmla="*/ 0 h 481"/>
                <a:gd name="T32" fmla="*/ 406 w 406"/>
                <a:gd name="T33" fmla="*/ 481 h 4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6" h="481">
                  <a:moveTo>
                    <a:pt x="4" y="463"/>
                  </a:moveTo>
                  <a:cubicBezTo>
                    <a:pt x="9" y="456"/>
                    <a:pt x="0" y="481"/>
                    <a:pt x="34" y="419"/>
                  </a:cubicBezTo>
                  <a:cubicBezTo>
                    <a:pt x="68" y="357"/>
                    <a:pt x="175" y="152"/>
                    <a:pt x="206" y="93"/>
                  </a:cubicBezTo>
                  <a:lnTo>
                    <a:pt x="221" y="65"/>
                  </a:lnTo>
                  <a:lnTo>
                    <a:pt x="223" y="50"/>
                  </a:lnTo>
                  <a:cubicBezTo>
                    <a:pt x="228" y="41"/>
                    <a:pt x="243" y="17"/>
                    <a:pt x="250" y="9"/>
                  </a:cubicBezTo>
                  <a:lnTo>
                    <a:pt x="265" y="2"/>
                  </a:lnTo>
                  <a:lnTo>
                    <a:pt x="338" y="0"/>
                  </a:lnTo>
                  <a:cubicBezTo>
                    <a:pt x="356" y="3"/>
                    <a:pt x="362" y="10"/>
                    <a:pt x="373" y="20"/>
                  </a:cubicBezTo>
                  <a:cubicBezTo>
                    <a:pt x="384" y="30"/>
                    <a:pt x="399" y="50"/>
                    <a:pt x="406" y="5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8" name="Freeform 86"/>
            <p:cNvSpPr>
              <a:spLocks noChangeAspect="1"/>
            </p:cNvSpPr>
            <p:nvPr/>
          </p:nvSpPr>
          <p:spPr bwMode="auto">
            <a:xfrm flipV="1">
              <a:off x="3754" y="884"/>
              <a:ext cx="109" cy="8"/>
            </a:xfrm>
            <a:custGeom>
              <a:avLst/>
              <a:gdLst>
                <a:gd name="T0" fmla="*/ 0 w 183"/>
                <a:gd name="T1" fmla="*/ 1 h 14"/>
                <a:gd name="T2" fmla="*/ 1 w 183"/>
                <a:gd name="T3" fmla="*/ 1 h 14"/>
                <a:gd name="T4" fmla="*/ 1 w 183"/>
                <a:gd name="T5" fmla="*/ 1 h 14"/>
                <a:gd name="T6" fmla="*/ 1 w 183"/>
                <a:gd name="T7" fmla="*/ 1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3"/>
                <a:gd name="T13" fmla="*/ 0 h 14"/>
                <a:gd name="T14" fmla="*/ 183 w 183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3" h="14">
                  <a:moveTo>
                    <a:pt x="0" y="10"/>
                  </a:moveTo>
                  <a:cubicBezTo>
                    <a:pt x="5" y="9"/>
                    <a:pt x="9" y="2"/>
                    <a:pt x="33" y="1"/>
                  </a:cubicBezTo>
                  <a:cubicBezTo>
                    <a:pt x="57" y="0"/>
                    <a:pt x="119" y="2"/>
                    <a:pt x="144" y="4"/>
                  </a:cubicBezTo>
                  <a:cubicBezTo>
                    <a:pt x="169" y="6"/>
                    <a:pt x="175" y="12"/>
                    <a:pt x="183" y="1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09" name="Freeform 87"/>
            <p:cNvSpPr>
              <a:spLocks noChangeAspect="1"/>
            </p:cNvSpPr>
            <p:nvPr/>
          </p:nvSpPr>
          <p:spPr bwMode="auto">
            <a:xfrm flipV="1">
              <a:off x="3699" y="914"/>
              <a:ext cx="250" cy="69"/>
            </a:xfrm>
            <a:custGeom>
              <a:avLst/>
              <a:gdLst>
                <a:gd name="T0" fmla="*/ 1 w 420"/>
                <a:gd name="T1" fmla="*/ 1 h 115"/>
                <a:gd name="T2" fmla="*/ 1 w 420"/>
                <a:gd name="T3" fmla="*/ 1 h 115"/>
                <a:gd name="T4" fmla="*/ 1 w 420"/>
                <a:gd name="T5" fmla="*/ 1 h 115"/>
                <a:gd name="T6" fmla="*/ 1 w 420"/>
                <a:gd name="T7" fmla="*/ 1 h 115"/>
                <a:gd name="T8" fmla="*/ 0 w 420"/>
                <a:gd name="T9" fmla="*/ 0 h 115"/>
                <a:gd name="T10" fmla="*/ 1 w 420"/>
                <a:gd name="T11" fmla="*/ 1 h 115"/>
                <a:gd name="T12" fmla="*/ 1 w 420"/>
                <a:gd name="T13" fmla="*/ 1 h 115"/>
                <a:gd name="T14" fmla="*/ 1 w 420"/>
                <a:gd name="T15" fmla="*/ 1 h 115"/>
                <a:gd name="T16" fmla="*/ 1 w 420"/>
                <a:gd name="T17" fmla="*/ 1 h 115"/>
                <a:gd name="T18" fmla="*/ 1 w 420"/>
                <a:gd name="T19" fmla="*/ 1 h 115"/>
                <a:gd name="T20" fmla="*/ 1 w 420"/>
                <a:gd name="T21" fmla="*/ 1 h 115"/>
                <a:gd name="T22" fmla="*/ 1 w 420"/>
                <a:gd name="T23" fmla="*/ 1 h 11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20"/>
                <a:gd name="T37" fmla="*/ 0 h 115"/>
                <a:gd name="T38" fmla="*/ 420 w 420"/>
                <a:gd name="T39" fmla="*/ 115 h 11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20" h="115">
                  <a:moveTo>
                    <a:pt x="316" y="94"/>
                  </a:moveTo>
                  <a:lnTo>
                    <a:pt x="414" y="91"/>
                  </a:lnTo>
                  <a:lnTo>
                    <a:pt x="420" y="81"/>
                  </a:lnTo>
                  <a:lnTo>
                    <a:pt x="412" y="72"/>
                  </a:lnTo>
                  <a:lnTo>
                    <a:pt x="0" y="0"/>
                  </a:lnTo>
                  <a:lnTo>
                    <a:pt x="111" y="102"/>
                  </a:lnTo>
                  <a:lnTo>
                    <a:pt x="126" y="115"/>
                  </a:lnTo>
                  <a:lnTo>
                    <a:pt x="135" y="105"/>
                  </a:lnTo>
                  <a:lnTo>
                    <a:pt x="126" y="88"/>
                  </a:lnTo>
                  <a:cubicBezTo>
                    <a:pt x="129" y="80"/>
                    <a:pt x="126" y="61"/>
                    <a:pt x="154" y="58"/>
                  </a:cubicBezTo>
                  <a:lnTo>
                    <a:pt x="297" y="70"/>
                  </a:lnTo>
                  <a:cubicBezTo>
                    <a:pt x="324" y="76"/>
                    <a:pt x="312" y="89"/>
                    <a:pt x="316" y="94"/>
                  </a:cubicBezTo>
                  <a:close/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0" name="Freeform 88"/>
            <p:cNvSpPr>
              <a:spLocks noChangeAspect="1"/>
            </p:cNvSpPr>
            <p:nvPr/>
          </p:nvSpPr>
          <p:spPr bwMode="auto">
            <a:xfrm>
              <a:off x="2897" y="2648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1" name="Freeform 89"/>
            <p:cNvSpPr>
              <a:spLocks noChangeAspect="1"/>
            </p:cNvSpPr>
            <p:nvPr/>
          </p:nvSpPr>
          <p:spPr bwMode="auto">
            <a:xfrm>
              <a:off x="2903" y="2564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2" name="Freeform 90"/>
            <p:cNvSpPr>
              <a:spLocks noChangeAspect="1"/>
            </p:cNvSpPr>
            <p:nvPr/>
          </p:nvSpPr>
          <p:spPr bwMode="auto">
            <a:xfrm>
              <a:off x="2862" y="2551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3" name="Freeform 91"/>
            <p:cNvSpPr>
              <a:spLocks noChangeAspect="1"/>
            </p:cNvSpPr>
            <p:nvPr/>
          </p:nvSpPr>
          <p:spPr bwMode="auto">
            <a:xfrm>
              <a:off x="2869" y="2548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4" name="Freeform 92"/>
            <p:cNvSpPr>
              <a:spLocks noChangeAspect="1"/>
            </p:cNvSpPr>
            <p:nvPr/>
          </p:nvSpPr>
          <p:spPr bwMode="auto">
            <a:xfrm>
              <a:off x="2867" y="2679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5" name="Freeform 93"/>
            <p:cNvSpPr>
              <a:spLocks noChangeAspect="1"/>
            </p:cNvSpPr>
            <p:nvPr/>
          </p:nvSpPr>
          <p:spPr bwMode="auto">
            <a:xfrm>
              <a:off x="760" y="2645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6" name="Freeform 94"/>
            <p:cNvSpPr>
              <a:spLocks noChangeAspect="1"/>
            </p:cNvSpPr>
            <p:nvPr/>
          </p:nvSpPr>
          <p:spPr bwMode="auto">
            <a:xfrm>
              <a:off x="759" y="2556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7" name="Freeform 95"/>
            <p:cNvSpPr>
              <a:spLocks noChangeAspect="1"/>
            </p:cNvSpPr>
            <p:nvPr/>
          </p:nvSpPr>
          <p:spPr bwMode="auto">
            <a:xfrm>
              <a:off x="760" y="2567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8" name="Freeform 96"/>
            <p:cNvSpPr>
              <a:spLocks noChangeAspect="1"/>
            </p:cNvSpPr>
            <p:nvPr/>
          </p:nvSpPr>
          <p:spPr bwMode="auto">
            <a:xfrm>
              <a:off x="760" y="2624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19" name="Freeform 97"/>
            <p:cNvSpPr>
              <a:spLocks noChangeAspect="1"/>
            </p:cNvSpPr>
            <p:nvPr/>
          </p:nvSpPr>
          <p:spPr bwMode="auto">
            <a:xfrm>
              <a:off x="996" y="2557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0" name="Line 98"/>
            <p:cNvSpPr>
              <a:spLocks noChangeAspect="1" noChangeShapeType="1"/>
            </p:cNvSpPr>
            <p:nvPr/>
          </p:nvSpPr>
          <p:spPr bwMode="auto">
            <a:xfrm>
              <a:off x="1000" y="2586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1" name="Line 99"/>
            <p:cNvSpPr>
              <a:spLocks noChangeAspect="1" noChangeShapeType="1"/>
            </p:cNvSpPr>
            <p:nvPr/>
          </p:nvSpPr>
          <p:spPr bwMode="auto">
            <a:xfrm>
              <a:off x="999" y="2618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2" name="Line 100"/>
            <p:cNvSpPr>
              <a:spLocks noChangeAspect="1" noChangeShapeType="1"/>
            </p:cNvSpPr>
            <p:nvPr/>
          </p:nvSpPr>
          <p:spPr bwMode="auto">
            <a:xfrm>
              <a:off x="1011" y="2633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3" name="Line 101"/>
            <p:cNvSpPr>
              <a:spLocks noChangeAspect="1" noChangeShapeType="1"/>
            </p:cNvSpPr>
            <p:nvPr/>
          </p:nvSpPr>
          <p:spPr bwMode="auto">
            <a:xfrm>
              <a:off x="1019" y="2572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24" name="Freeform 102"/>
            <p:cNvSpPr>
              <a:spLocks noChangeAspect="1"/>
            </p:cNvSpPr>
            <p:nvPr/>
          </p:nvSpPr>
          <p:spPr bwMode="auto">
            <a:xfrm flipV="1">
              <a:off x="2897" y="1196"/>
              <a:ext cx="498" cy="40"/>
            </a:xfrm>
            <a:custGeom>
              <a:avLst/>
              <a:gdLst>
                <a:gd name="T0" fmla="*/ 0 w 838"/>
                <a:gd name="T1" fmla="*/ 0 h 67"/>
                <a:gd name="T2" fmla="*/ 1 w 838"/>
                <a:gd name="T3" fmla="*/ 1 h 67"/>
                <a:gd name="T4" fmla="*/ 1 w 838"/>
                <a:gd name="T5" fmla="*/ 1 h 67"/>
                <a:gd name="T6" fmla="*/ 0 60000 65536"/>
                <a:gd name="T7" fmla="*/ 0 60000 65536"/>
                <a:gd name="T8" fmla="*/ 0 60000 65536"/>
                <a:gd name="T9" fmla="*/ 0 w 838"/>
                <a:gd name="T10" fmla="*/ 0 h 67"/>
                <a:gd name="T11" fmla="*/ 838 w 838"/>
                <a:gd name="T12" fmla="*/ 67 h 6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38" h="67">
                  <a:moveTo>
                    <a:pt x="0" y="0"/>
                  </a:moveTo>
                  <a:cubicBezTo>
                    <a:pt x="61" y="3"/>
                    <a:pt x="228" y="5"/>
                    <a:pt x="368" y="16"/>
                  </a:cubicBezTo>
                  <a:cubicBezTo>
                    <a:pt x="508" y="27"/>
                    <a:pt x="740" y="57"/>
                    <a:pt x="838" y="67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5" name="Freeform 103"/>
            <p:cNvSpPr>
              <a:spLocks noChangeAspect="1"/>
            </p:cNvSpPr>
            <p:nvPr/>
          </p:nvSpPr>
          <p:spPr bwMode="auto">
            <a:xfrm flipV="1">
              <a:off x="2903" y="1289"/>
              <a:ext cx="515" cy="31"/>
            </a:xfrm>
            <a:custGeom>
              <a:avLst/>
              <a:gdLst>
                <a:gd name="T0" fmla="*/ 0 w 867"/>
                <a:gd name="T1" fmla="*/ 1 h 51"/>
                <a:gd name="T2" fmla="*/ 1 w 867"/>
                <a:gd name="T3" fmla="*/ 1 h 51"/>
                <a:gd name="T4" fmla="*/ 1 w 867"/>
                <a:gd name="T5" fmla="*/ 0 h 51"/>
                <a:gd name="T6" fmla="*/ 0 60000 65536"/>
                <a:gd name="T7" fmla="*/ 0 60000 65536"/>
                <a:gd name="T8" fmla="*/ 0 60000 65536"/>
                <a:gd name="T9" fmla="*/ 0 w 867"/>
                <a:gd name="T10" fmla="*/ 0 h 51"/>
                <a:gd name="T11" fmla="*/ 867 w 867"/>
                <a:gd name="T12" fmla="*/ 51 h 5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67" h="51">
                  <a:moveTo>
                    <a:pt x="0" y="46"/>
                  </a:moveTo>
                  <a:cubicBezTo>
                    <a:pt x="69" y="46"/>
                    <a:pt x="273" y="51"/>
                    <a:pt x="417" y="43"/>
                  </a:cubicBezTo>
                  <a:cubicBezTo>
                    <a:pt x="561" y="35"/>
                    <a:pt x="773" y="9"/>
                    <a:pt x="867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6" name="Freeform 104"/>
            <p:cNvSpPr>
              <a:spLocks noChangeAspect="1"/>
            </p:cNvSpPr>
            <p:nvPr/>
          </p:nvSpPr>
          <p:spPr bwMode="auto">
            <a:xfrm flipV="1">
              <a:off x="2862" y="1206"/>
              <a:ext cx="44" cy="127"/>
            </a:xfrm>
            <a:custGeom>
              <a:avLst/>
              <a:gdLst>
                <a:gd name="T0" fmla="*/ 1 w 74"/>
                <a:gd name="T1" fmla="*/ 0 h 215"/>
                <a:gd name="T2" fmla="*/ 1 w 74"/>
                <a:gd name="T3" fmla="*/ 1 h 215"/>
                <a:gd name="T4" fmla="*/ 1 w 74"/>
                <a:gd name="T5" fmla="*/ 1 h 215"/>
                <a:gd name="T6" fmla="*/ 1 w 74"/>
                <a:gd name="T7" fmla="*/ 1 h 215"/>
                <a:gd name="T8" fmla="*/ 1 w 74"/>
                <a:gd name="T9" fmla="*/ 1 h 215"/>
                <a:gd name="T10" fmla="*/ 1 w 74"/>
                <a:gd name="T11" fmla="*/ 1 h 2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4"/>
                <a:gd name="T19" fmla="*/ 0 h 215"/>
                <a:gd name="T20" fmla="*/ 74 w 74"/>
                <a:gd name="T21" fmla="*/ 215 h 2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4" h="215">
                  <a:moveTo>
                    <a:pt x="11" y="0"/>
                  </a:moveTo>
                  <a:cubicBezTo>
                    <a:pt x="11" y="3"/>
                    <a:pt x="0" y="9"/>
                    <a:pt x="9" y="21"/>
                  </a:cubicBezTo>
                  <a:cubicBezTo>
                    <a:pt x="18" y="33"/>
                    <a:pt x="58" y="49"/>
                    <a:pt x="66" y="72"/>
                  </a:cubicBezTo>
                  <a:cubicBezTo>
                    <a:pt x="74" y="95"/>
                    <a:pt x="67" y="141"/>
                    <a:pt x="57" y="162"/>
                  </a:cubicBezTo>
                  <a:cubicBezTo>
                    <a:pt x="47" y="183"/>
                    <a:pt x="17" y="188"/>
                    <a:pt x="9" y="197"/>
                  </a:cubicBezTo>
                  <a:cubicBezTo>
                    <a:pt x="1" y="206"/>
                    <a:pt x="7" y="211"/>
                    <a:pt x="7" y="21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7" name="Freeform 105"/>
            <p:cNvSpPr>
              <a:spLocks noChangeAspect="1"/>
            </p:cNvSpPr>
            <p:nvPr/>
          </p:nvSpPr>
          <p:spPr bwMode="auto">
            <a:xfrm flipV="1">
              <a:off x="2869" y="1320"/>
              <a:ext cx="550" cy="16"/>
            </a:xfrm>
            <a:custGeom>
              <a:avLst/>
              <a:gdLst>
                <a:gd name="T0" fmla="*/ 0 w 550"/>
                <a:gd name="T1" fmla="*/ 2 h 16"/>
                <a:gd name="T2" fmla="*/ 248 w 550"/>
                <a:gd name="T3" fmla="*/ 2 h 16"/>
                <a:gd name="T4" fmla="*/ 550 w 550"/>
                <a:gd name="T5" fmla="*/ 16 h 16"/>
                <a:gd name="T6" fmla="*/ 0 60000 65536"/>
                <a:gd name="T7" fmla="*/ 0 60000 65536"/>
                <a:gd name="T8" fmla="*/ 0 60000 65536"/>
                <a:gd name="T9" fmla="*/ 0 w 550"/>
                <a:gd name="T10" fmla="*/ 0 h 16"/>
                <a:gd name="T11" fmla="*/ 550 w 550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0" h="16">
                  <a:moveTo>
                    <a:pt x="0" y="2"/>
                  </a:moveTo>
                  <a:cubicBezTo>
                    <a:pt x="41" y="2"/>
                    <a:pt x="156" y="0"/>
                    <a:pt x="248" y="2"/>
                  </a:cubicBezTo>
                  <a:cubicBezTo>
                    <a:pt x="340" y="4"/>
                    <a:pt x="487" y="13"/>
                    <a:pt x="550" y="16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8" name="Freeform 106"/>
            <p:cNvSpPr>
              <a:spLocks noChangeAspect="1"/>
            </p:cNvSpPr>
            <p:nvPr/>
          </p:nvSpPr>
          <p:spPr bwMode="auto">
            <a:xfrm flipV="1">
              <a:off x="2867" y="1197"/>
              <a:ext cx="527" cy="8"/>
            </a:xfrm>
            <a:custGeom>
              <a:avLst/>
              <a:gdLst>
                <a:gd name="T0" fmla="*/ 0 w 527"/>
                <a:gd name="T1" fmla="*/ 0 h 8"/>
                <a:gd name="T2" fmla="*/ 228 w 527"/>
                <a:gd name="T3" fmla="*/ 6 h 8"/>
                <a:gd name="T4" fmla="*/ 527 w 527"/>
                <a:gd name="T5" fmla="*/ 8 h 8"/>
                <a:gd name="T6" fmla="*/ 0 60000 65536"/>
                <a:gd name="T7" fmla="*/ 0 60000 65536"/>
                <a:gd name="T8" fmla="*/ 0 60000 65536"/>
                <a:gd name="T9" fmla="*/ 0 w 527"/>
                <a:gd name="T10" fmla="*/ 0 h 8"/>
                <a:gd name="T11" fmla="*/ 527 w 52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27" h="8">
                  <a:moveTo>
                    <a:pt x="0" y="0"/>
                  </a:moveTo>
                  <a:cubicBezTo>
                    <a:pt x="38" y="1"/>
                    <a:pt x="140" y="5"/>
                    <a:pt x="228" y="6"/>
                  </a:cubicBezTo>
                  <a:cubicBezTo>
                    <a:pt x="316" y="7"/>
                    <a:pt x="465" y="8"/>
                    <a:pt x="527" y="8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29" name="Freeform 107"/>
            <p:cNvSpPr>
              <a:spLocks noChangeAspect="1"/>
            </p:cNvSpPr>
            <p:nvPr/>
          </p:nvSpPr>
          <p:spPr bwMode="auto">
            <a:xfrm flipV="1">
              <a:off x="760" y="1230"/>
              <a:ext cx="271" cy="9"/>
            </a:xfrm>
            <a:custGeom>
              <a:avLst/>
              <a:gdLst>
                <a:gd name="T0" fmla="*/ 0 w 271"/>
                <a:gd name="T1" fmla="*/ 0 h 9"/>
                <a:gd name="T2" fmla="*/ 118 w 271"/>
                <a:gd name="T3" fmla="*/ 6 h 9"/>
                <a:gd name="T4" fmla="*/ 271 w 271"/>
                <a:gd name="T5" fmla="*/ 9 h 9"/>
                <a:gd name="T6" fmla="*/ 0 60000 65536"/>
                <a:gd name="T7" fmla="*/ 0 60000 65536"/>
                <a:gd name="T8" fmla="*/ 0 60000 65536"/>
                <a:gd name="T9" fmla="*/ 0 w 271"/>
                <a:gd name="T10" fmla="*/ 0 h 9"/>
                <a:gd name="T11" fmla="*/ 271 w 271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1" h="9">
                  <a:moveTo>
                    <a:pt x="0" y="0"/>
                  </a:moveTo>
                  <a:cubicBezTo>
                    <a:pt x="20" y="1"/>
                    <a:pt x="73" y="5"/>
                    <a:pt x="118" y="6"/>
                  </a:cubicBezTo>
                  <a:cubicBezTo>
                    <a:pt x="163" y="7"/>
                    <a:pt x="239" y="9"/>
                    <a:pt x="271" y="9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0" name="Freeform 108"/>
            <p:cNvSpPr>
              <a:spLocks noChangeAspect="1"/>
            </p:cNvSpPr>
            <p:nvPr/>
          </p:nvSpPr>
          <p:spPr bwMode="auto">
            <a:xfrm flipV="1">
              <a:off x="759" y="1317"/>
              <a:ext cx="274" cy="11"/>
            </a:xfrm>
            <a:custGeom>
              <a:avLst/>
              <a:gdLst>
                <a:gd name="T0" fmla="*/ 0 w 274"/>
                <a:gd name="T1" fmla="*/ 11 h 11"/>
                <a:gd name="T2" fmla="*/ 122 w 274"/>
                <a:gd name="T3" fmla="*/ 2 h 11"/>
                <a:gd name="T4" fmla="*/ 274 w 274"/>
                <a:gd name="T5" fmla="*/ 1 h 11"/>
                <a:gd name="T6" fmla="*/ 0 60000 65536"/>
                <a:gd name="T7" fmla="*/ 0 60000 65536"/>
                <a:gd name="T8" fmla="*/ 0 60000 65536"/>
                <a:gd name="T9" fmla="*/ 0 w 274"/>
                <a:gd name="T10" fmla="*/ 0 h 11"/>
                <a:gd name="T11" fmla="*/ 274 w 274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4" h="11">
                  <a:moveTo>
                    <a:pt x="0" y="11"/>
                  </a:moveTo>
                  <a:cubicBezTo>
                    <a:pt x="20" y="10"/>
                    <a:pt x="76" y="4"/>
                    <a:pt x="122" y="2"/>
                  </a:cubicBezTo>
                  <a:cubicBezTo>
                    <a:pt x="168" y="0"/>
                    <a:pt x="242" y="1"/>
                    <a:pt x="274" y="1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1" name="Freeform 109"/>
            <p:cNvSpPr>
              <a:spLocks noChangeAspect="1"/>
            </p:cNvSpPr>
            <p:nvPr/>
          </p:nvSpPr>
          <p:spPr bwMode="auto">
            <a:xfrm flipV="1">
              <a:off x="760" y="1302"/>
              <a:ext cx="239" cy="15"/>
            </a:xfrm>
            <a:custGeom>
              <a:avLst/>
              <a:gdLst>
                <a:gd name="T0" fmla="*/ 1 w 402"/>
                <a:gd name="T1" fmla="*/ 1 h 26"/>
                <a:gd name="T2" fmla="*/ 1 w 402"/>
                <a:gd name="T3" fmla="*/ 1 h 26"/>
                <a:gd name="T4" fmla="*/ 0 w 402"/>
                <a:gd name="T5" fmla="*/ 0 h 26"/>
                <a:gd name="T6" fmla="*/ 0 60000 65536"/>
                <a:gd name="T7" fmla="*/ 0 60000 65536"/>
                <a:gd name="T8" fmla="*/ 0 60000 65536"/>
                <a:gd name="T9" fmla="*/ 0 w 402"/>
                <a:gd name="T10" fmla="*/ 0 h 26"/>
                <a:gd name="T11" fmla="*/ 402 w 402"/>
                <a:gd name="T12" fmla="*/ 26 h 2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26">
                  <a:moveTo>
                    <a:pt x="402" y="26"/>
                  </a:moveTo>
                  <a:cubicBezTo>
                    <a:pt x="372" y="25"/>
                    <a:pt x="288" y="22"/>
                    <a:pt x="221" y="18"/>
                  </a:cubicBezTo>
                  <a:cubicBezTo>
                    <a:pt x="154" y="14"/>
                    <a:pt x="46" y="4"/>
                    <a:pt x="0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2" name="Freeform 110"/>
            <p:cNvSpPr>
              <a:spLocks noChangeAspect="1"/>
            </p:cNvSpPr>
            <p:nvPr/>
          </p:nvSpPr>
          <p:spPr bwMode="auto">
            <a:xfrm flipV="1">
              <a:off x="760" y="1240"/>
              <a:ext cx="239" cy="20"/>
            </a:xfrm>
            <a:custGeom>
              <a:avLst/>
              <a:gdLst>
                <a:gd name="T0" fmla="*/ 0 w 402"/>
                <a:gd name="T1" fmla="*/ 1 h 33"/>
                <a:gd name="T2" fmla="*/ 1 w 402"/>
                <a:gd name="T3" fmla="*/ 1 h 33"/>
                <a:gd name="T4" fmla="*/ 1 w 402"/>
                <a:gd name="T5" fmla="*/ 0 h 33"/>
                <a:gd name="T6" fmla="*/ 0 60000 65536"/>
                <a:gd name="T7" fmla="*/ 0 60000 65536"/>
                <a:gd name="T8" fmla="*/ 0 60000 65536"/>
                <a:gd name="T9" fmla="*/ 0 w 402"/>
                <a:gd name="T10" fmla="*/ 0 h 33"/>
                <a:gd name="T11" fmla="*/ 402 w 402"/>
                <a:gd name="T12" fmla="*/ 33 h 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2" h="33">
                  <a:moveTo>
                    <a:pt x="0" y="33"/>
                  </a:moveTo>
                  <a:cubicBezTo>
                    <a:pt x="33" y="29"/>
                    <a:pt x="130" y="16"/>
                    <a:pt x="197" y="11"/>
                  </a:cubicBezTo>
                  <a:cubicBezTo>
                    <a:pt x="264" y="6"/>
                    <a:pt x="359" y="2"/>
                    <a:pt x="402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3" name="Freeform 111"/>
            <p:cNvSpPr>
              <a:spLocks noChangeAspect="1"/>
            </p:cNvSpPr>
            <p:nvPr/>
          </p:nvSpPr>
          <p:spPr bwMode="auto">
            <a:xfrm flipV="1">
              <a:off x="996" y="1230"/>
              <a:ext cx="38" cy="97"/>
            </a:xfrm>
            <a:custGeom>
              <a:avLst/>
              <a:gdLst>
                <a:gd name="T0" fmla="*/ 1 w 64"/>
                <a:gd name="T1" fmla="*/ 0 h 165"/>
                <a:gd name="T2" fmla="*/ 1 w 64"/>
                <a:gd name="T3" fmla="*/ 1 h 165"/>
                <a:gd name="T4" fmla="*/ 1 w 64"/>
                <a:gd name="T5" fmla="*/ 1 h 165"/>
                <a:gd name="T6" fmla="*/ 1 w 64"/>
                <a:gd name="T7" fmla="*/ 1 h 165"/>
                <a:gd name="T8" fmla="*/ 1 w 64"/>
                <a:gd name="T9" fmla="*/ 1 h 165"/>
                <a:gd name="T10" fmla="*/ 1 w 64"/>
                <a:gd name="T11" fmla="*/ 1 h 1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4"/>
                <a:gd name="T19" fmla="*/ 0 h 165"/>
                <a:gd name="T20" fmla="*/ 64 w 64"/>
                <a:gd name="T21" fmla="*/ 165 h 1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4" h="165">
                  <a:moveTo>
                    <a:pt x="64" y="0"/>
                  </a:moveTo>
                  <a:cubicBezTo>
                    <a:pt x="62" y="2"/>
                    <a:pt x="62" y="7"/>
                    <a:pt x="53" y="15"/>
                  </a:cubicBezTo>
                  <a:cubicBezTo>
                    <a:pt x="44" y="23"/>
                    <a:pt x="14" y="30"/>
                    <a:pt x="7" y="47"/>
                  </a:cubicBezTo>
                  <a:cubicBezTo>
                    <a:pt x="0" y="64"/>
                    <a:pt x="1" y="99"/>
                    <a:pt x="8" y="116"/>
                  </a:cubicBezTo>
                  <a:cubicBezTo>
                    <a:pt x="15" y="133"/>
                    <a:pt x="43" y="142"/>
                    <a:pt x="52" y="150"/>
                  </a:cubicBezTo>
                  <a:cubicBezTo>
                    <a:pt x="61" y="158"/>
                    <a:pt x="61" y="162"/>
                    <a:pt x="64" y="165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4" name="Line 112"/>
            <p:cNvSpPr>
              <a:spLocks noChangeAspect="1" noChangeShapeType="1"/>
            </p:cNvSpPr>
            <p:nvPr/>
          </p:nvSpPr>
          <p:spPr bwMode="auto">
            <a:xfrm flipV="1">
              <a:off x="1000" y="1291"/>
              <a:ext cx="189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5" name="Line 113"/>
            <p:cNvSpPr>
              <a:spLocks noChangeAspect="1" noChangeShapeType="1"/>
            </p:cNvSpPr>
            <p:nvPr/>
          </p:nvSpPr>
          <p:spPr bwMode="auto">
            <a:xfrm flipV="1">
              <a:off x="999" y="1259"/>
              <a:ext cx="1902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6" name="Line 114"/>
            <p:cNvSpPr>
              <a:spLocks noChangeAspect="1" noChangeShapeType="1"/>
            </p:cNvSpPr>
            <p:nvPr/>
          </p:nvSpPr>
          <p:spPr bwMode="auto">
            <a:xfrm flipV="1">
              <a:off x="1011" y="1244"/>
              <a:ext cx="1884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7" name="Line 115"/>
            <p:cNvSpPr>
              <a:spLocks noChangeAspect="1" noChangeShapeType="1"/>
            </p:cNvSpPr>
            <p:nvPr/>
          </p:nvSpPr>
          <p:spPr bwMode="auto">
            <a:xfrm flipV="1">
              <a:off x="1019" y="1305"/>
              <a:ext cx="1868" cy="7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38" name="Freeform 116"/>
            <p:cNvSpPr>
              <a:spLocks noChangeAspect="1"/>
            </p:cNvSpPr>
            <p:nvPr/>
          </p:nvSpPr>
          <p:spPr bwMode="auto">
            <a:xfrm>
              <a:off x="774" y="1937"/>
              <a:ext cx="205" cy="23"/>
            </a:xfrm>
            <a:custGeom>
              <a:avLst/>
              <a:gdLst>
                <a:gd name="T0" fmla="*/ 1 w 329"/>
                <a:gd name="T1" fmla="*/ 1 h 37"/>
                <a:gd name="T2" fmla="*/ 1 w 329"/>
                <a:gd name="T3" fmla="*/ 1 h 37"/>
                <a:gd name="T4" fmla="*/ 1 w 329"/>
                <a:gd name="T5" fmla="*/ 1 h 37"/>
                <a:gd name="T6" fmla="*/ 1 w 329"/>
                <a:gd name="T7" fmla="*/ 1 h 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29"/>
                <a:gd name="T13" fmla="*/ 0 h 37"/>
                <a:gd name="T14" fmla="*/ 329 w 329"/>
                <a:gd name="T15" fmla="*/ 37 h 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29" h="37">
                  <a:moveTo>
                    <a:pt x="329" y="35"/>
                  </a:moveTo>
                  <a:cubicBezTo>
                    <a:pt x="282" y="35"/>
                    <a:pt x="94" y="37"/>
                    <a:pt x="47" y="32"/>
                  </a:cubicBezTo>
                  <a:cubicBezTo>
                    <a:pt x="0" y="27"/>
                    <a:pt x="0" y="10"/>
                    <a:pt x="47" y="5"/>
                  </a:cubicBezTo>
                  <a:cubicBezTo>
                    <a:pt x="94" y="0"/>
                    <a:pt x="270" y="3"/>
                    <a:pt x="328" y="2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39" name="Freeform 117"/>
            <p:cNvSpPr>
              <a:spLocks noChangeAspect="1"/>
            </p:cNvSpPr>
            <p:nvPr/>
          </p:nvSpPr>
          <p:spPr bwMode="auto">
            <a:xfrm>
              <a:off x="966" y="1904"/>
              <a:ext cx="98" cy="86"/>
            </a:xfrm>
            <a:custGeom>
              <a:avLst/>
              <a:gdLst>
                <a:gd name="T0" fmla="*/ 0 w 157"/>
                <a:gd name="T1" fmla="*/ 1 h 137"/>
                <a:gd name="T2" fmla="*/ 1 w 157"/>
                <a:gd name="T3" fmla="*/ 1 h 137"/>
                <a:gd name="T4" fmla="*/ 1 w 157"/>
                <a:gd name="T5" fmla="*/ 1 h 137"/>
                <a:gd name="T6" fmla="*/ 1 w 157"/>
                <a:gd name="T7" fmla="*/ 1 h 137"/>
                <a:gd name="T8" fmla="*/ 1 w 157"/>
                <a:gd name="T9" fmla="*/ 1 h 137"/>
                <a:gd name="T10" fmla="*/ 1 w 157"/>
                <a:gd name="T11" fmla="*/ 1 h 137"/>
                <a:gd name="T12" fmla="*/ 1 w 157"/>
                <a:gd name="T13" fmla="*/ 1 h 137"/>
                <a:gd name="T14" fmla="*/ 1 w 157"/>
                <a:gd name="T15" fmla="*/ 1 h 137"/>
                <a:gd name="T16" fmla="*/ 1 w 157"/>
                <a:gd name="T17" fmla="*/ 1 h 137"/>
                <a:gd name="T18" fmla="*/ 0 w 157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7"/>
                <a:gd name="T31" fmla="*/ 0 h 137"/>
                <a:gd name="T32" fmla="*/ 157 w 157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7" h="137">
                  <a:moveTo>
                    <a:pt x="0" y="90"/>
                  </a:moveTo>
                  <a:cubicBezTo>
                    <a:pt x="2" y="93"/>
                    <a:pt x="5" y="102"/>
                    <a:pt x="11" y="107"/>
                  </a:cubicBezTo>
                  <a:cubicBezTo>
                    <a:pt x="17" y="112"/>
                    <a:pt x="31" y="114"/>
                    <a:pt x="39" y="119"/>
                  </a:cubicBezTo>
                  <a:cubicBezTo>
                    <a:pt x="47" y="124"/>
                    <a:pt x="41" y="137"/>
                    <a:pt x="57" y="135"/>
                  </a:cubicBezTo>
                  <a:cubicBezTo>
                    <a:pt x="73" y="133"/>
                    <a:pt x="124" y="121"/>
                    <a:pt x="138" y="105"/>
                  </a:cubicBezTo>
                  <a:cubicBezTo>
                    <a:pt x="152" y="89"/>
                    <a:pt x="157" y="58"/>
                    <a:pt x="143" y="41"/>
                  </a:cubicBezTo>
                  <a:cubicBezTo>
                    <a:pt x="129" y="24"/>
                    <a:pt x="74" y="6"/>
                    <a:pt x="56" y="3"/>
                  </a:cubicBezTo>
                  <a:cubicBezTo>
                    <a:pt x="38" y="0"/>
                    <a:pt x="42" y="17"/>
                    <a:pt x="35" y="23"/>
                  </a:cubicBezTo>
                  <a:cubicBezTo>
                    <a:pt x="28" y="29"/>
                    <a:pt x="17" y="33"/>
                    <a:pt x="11" y="38"/>
                  </a:cubicBezTo>
                  <a:cubicBezTo>
                    <a:pt x="5" y="43"/>
                    <a:pt x="2" y="51"/>
                    <a:pt x="0" y="5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0" name="Line 118"/>
            <p:cNvSpPr>
              <a:spLocks noChangeAspect="1" noChangeShapeType="1"/>
            </p:cNvSpPr>
            <p:nvPr/>
          </p:nvSpPr>
          <p:spPr bwMode="auto">
            <a:xfrm>
              <a:off x="981" y="1937"/>
              <a:ext cx="0" cy="21"/>
            </a:xfrm>
            <a:prstGeom prst="line">
              <a:avLst/>
            </a:pr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ko-KR" altLang="en-US" dirty="0">
                <a:latin typeface="Calibri" panose="020F0502020204030204" pitchFamily="34" charset="0"/>
                <a:ea typeface="Microsoft YaHei" panose="020B0503020204020204" pitchFamily="34" charset="-122"/>
              </a:endParaRPr>
            </a:p>
          </p:txBody>
        </p:sp>
        <p:sp>
          <p:nvSpPr>
            <p:cNvPr id="641" name="Freeform 119"/>
            <p:cNvSpPr>
              <a:spLocks noChangeAspect="1"/>
            </p:cNvSpPr>
            <p:nvPr/>
          </p:nvSpPr>
          <p:spPr bwMode="auto">
            <a:xfrm>
              <a:off x="984" y="1915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2" name="Freeform 120"/>
            <p:cNvSpPr>
              <a:spLocks noChangeAspect="1"/>
            </p:cNvSpPr>
            <p:nvPr/>
          </p:nvSpPr>
          <p:spPr bwMode="auto">
            <a:xfrm flipV="1">
              <a:off x="984" y="1958"/>
              <a:ext cx="46" cy="23"/>
            </a:xfrm>
            <a:custGeom>
              <a:avLst/>
              <a:gdLst>
                <a:gd name="T0" fmla="*/ 0 w 73"/>
                <a:gd name="T1" fmla="*/ 1 h 36"/>
                <a:gd name="T2" fmla="*/ 1 w 73"/>
                <a:gd name="T3" fmla="*/ 1 h 36"/>
                <a:gd name="T4" fmla="*/ 1 w 73"/>
                <a:gd name="T5" fmla="*/ 0 h 36"/>
                <a:gd name="T6" fmla="*/ 0 60000 65536"/>
                <a:gd name="T7" fmla="*/ 0 60000 65536"/>
                <a:gd name="T8" fmla="*/ 0 60000 65536"/>
                <a:gd name="T9" fmla="*/ 0 w 73"/>
                <a:gd name="T10" fmla="*/ 0 h 36"/>
                <a:gd name="T11" fmla="*/ 73 w 73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3" h="36">
                  <a:moveTo>
                    <a:pt x="0" y="36"/>
                  </a:moveTo>
                  <a:cubicBezTo>
                    <a:pt x="5" y="35"/>
                    <a:pt x="18" y="36"/>
                    <a:pt x="30" y="30"/>
                  </a:cubicBezTo>
                  <a:cubicBezTo>
                    <a:pt x="42" y="24"/>
                    <a:pt x="64" y="6"/>
                    <a:pt x="73" y="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 rot="10800000"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3" name="Freeform 121"/>
            <p:cNvSpPr>
              <a:spLocks noChangeAspect="1"/>
            </p:cNvSpPr>
            <p:nvPr/>
          </p:nvSpPr>
          <p:spPr bwMode="auto">
            <a:xfrm>
              <a:off x="94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4" name="Freeform 122"/>
            <p:cNvSpPr>
              <a:spLocks noChangeAspect="1"/>
            </p:cNvSpPr>
            <p:nvPr/>
          </p:nvSpPr>
          <p:spPr bwMode="auto">
            <a:xfrm>
              <a:off x="916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5" name="Freeform 123"/>
            <p:cNvSpPr>
              <a:spLocks noChangeAspect="1"/>
            </p:cNvSpPr>
            <p:nvPr/>
          </p:nvSpPr>
          <p:spPr bwMode="auto">
            <a:xfrm>
              <a:off x="887" y="1940"/>
              <a:ext cx="20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6" name="Freeform 124"/>
            <p:cNvSpPr>
              <a:spLocks noChangeAspect="1"/>
            </p:cNvSpPr>
            <p:nvPr/>
          </p:nvSpPr>
          <p:spPr bwMode="auto">
            <a:xfrm>
              <a:off x="860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7" name="Freeform 125"/>
            <p:cNvSpPr>
              <a:spLocks noChangeAspect="1"/>
            </p:cNvSpPr>
            <p:nvPr/>
          </p:nvSpPr>
          <p:spPr bwMode="auto">
            <a:xfrm>
              <a:off x="828" y="1940"/>
              <a:ext cx="21" cy="19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8" name="Freeform 126"/>
            <p:cNvSpPr>
              <a:spLocks noChangeAspect="1"/>
            </p:cNvSpPr>
            <p:nvPr/>
          </p:nvSpPr>
          <p:spPr bwMode="auto">
            <a:xfrm>
              <a:off x="803" y="1940"/>
              <a:ext cx="17" cy="17"/>
            </a:xfrm>
            <a:custGeom>
              <a:avLst/>
              <a:gdLst>
                <a:gd name="T0" fmla="*/ 1 w 33"/>
                <a:gd name="T1" fmla="*/ 0 h 30"/>
                <a:gd name="T2" fmla="*/ 1 w 33"/>
                <a:gd name="T3" fmla="*/ 1 h 30"/>
                <a:gd name="T4" fmla="*/ 1 w 33"/>
                <a:gd name="T5" fmla="*/ 1 h 30"/>
                <a:gd name="T6" fmla="*/ 0 w 33"/>
                <a:gd name="T7" fmla="*/ 1 h 3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0"/>
                <a:gd name="T14" fmla="*/ 33 w 33"/>
                <a:gd name="T15" fmla="*/ 30 h 3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0">
                  <a:moveTo>
                    <a:pt x="33" y="0"/>
                  </a:moveTo>
                  <a:cubicBezTo>
                    <a:pt x="31" y="1"/>
                    <a:pt x="23" y="6"/>
                    <a:pt x="20" y="9"/>
                  </a:cubicBezTo>
                  <a:cubicBezTo>
                    <a:pt x="17" y="12"/>
                    <a:pt x="15" y="18"/>
                    <a:pt x="12" y="21"/>
                  </a:cubicBezTo>
                  <a:cubicBezTo>
                    <a:pt x="9" y="24"/>
                    <a:pt x="2" y="28"/>
                    <a:pt x="0" y="30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  <p:sp>
          <p:nvSpPr>
            <p:cNvPr id="649" name="Freeform 127"/>
            <p:cNvSpPr>
              <a:spLocks noChangeAspect="1"/>
            </p:cNvSpPr>
            <p:nvPr/>
          </p:nvSpPr>
          <p:spPr bwMode="auto">
            <a:xfrm>
              <a:off x="666" y="1224"/>
              <a:ext cx="95" cy="1429"/>
            </a:xfrm>
            <a:custGeom>
              <a:avLst/>
              <a:gdLst>
                <a:gd name="T0" fmla="*/ 1 w 160"/>
                <a:gd name="T1" fmla="*/ 1 h 2429"/>
                <a:gd name="T2" fmla="*/ 1 w 160"/>
                <a:gd name="T3" fmla="*/ 1 h 2429"/>
                <a:gd name="T4" fmla="*/ 1 w 160"/>
                <a:gd name="T5" fmla="*/ 1 h 2429"/>
                <a:gd name="T6" fmla="*/ 1 w 160"/>
                <a:gd name="T7" fmla="*/ 1 h 2429"/>
                <a:gd name="T8" fmla="*/ 1 w 160"/>
                <a:gd name="T9" fmla="*/ 1 h 2429"/>
                <a:gd name="T10" fmla="*/ 1 w 160"/>
                <a:gd name="T11" fmla="*/ 1 h 2429"/>
                <a:gd name="T12" fmla="*/ 1 w 160"/>
                <a:gd name="T13" fmla="*/ 1 h 24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0"/>
                <a:gd name="T22" fmla="*/ 0 h 2429"/>
                <a:gd name="T23" fmla="*/ 160 w 160"/>
                <a:gd name="T24" fmla="*/ 2429 h 24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0" h="2429">
                  <a:moveTo>
                    <a:pt x="160" y="2423"/>
                  </a:moveTo>
                  <a:cubicBezTo>
                    <a:pt x="146" y="2413"/>
                    <a:pt x="100" y="2429"/>
                    <a:pt x="78" y="2365"/>
                  </a:cubicBezTo>
                  <a:cubicBezTo>
                    <a:pt x="56" y="2301"/>
                    <a:pt x="43" y="2229"/>
                    <a:pt x="30" y="2038"/>
                  </a:cubicBezTo>
                  <a:cubicBezTo>
                    <a:pt x="17" y="1847"/>
                    <a:pt x="4" y="1491"/>
                    <a:pt x="2" y="1217"/>
                  </a:cubicBezTo>
                  <a:cubicBezTo>
                    <a:pt x="0" y="943"/>
                    <a:pt x="8" y="584"/>
                    <a:pt x="21" y="392"/>
                  </a:cubicBezTo>
                  <a:cubicBezTo>
                    <a:pt x="34" y="200"/>
                    <a:pt x="55" y="130"/>
                    <a:pt x="78" y="65"/>
                  </a:cubicBezTo>
                  <a:cubicBezTo>
                    <a:pt x="101" y="0"/>
                    <a:pt x="143" y="17"/>
                    <a:pt x="160" y="4"/>
                  </a:cubicBezTo>
                </a:path>
              </a:pathLst>
            </a:custGeom>
            <a:grpFill/>
            <a:ln w="9525">
              <a:solidFill>
                <a:srgbClr val="777777"/>
              </a:solidFill>
              <a:round/>
              <a:headEnd/>
              <a:tailEnd/>
            </a:ln>
            <a:extLst/>
          </p:spPr>
          <p:txBody>
            <a:bodyPr/>
            <a:lstStyle>
              <a:lvl1pPr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1pPr>
              <a:lvl2pPr marL="742950" indent="-28575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2pPr>
              <a:lvl3pPr marL="11430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3pPr>
              <a:lvl4pPr marL="16002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4pPr>
              <a:lvl5pPr marL="2057400" indent="-228600" eaLnBrk="0" hangingPunct="0"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1300" b="1">
                  <a:solidFill>
                    <a:schemeClr val="tx1"/>
                  </a:solidFill>
                  <a:latin typeface="Arial" panose="020B0604020202020204" pitchFamily="34" charset="0"/>
                  <a:ea typeface="굴림" panose="020B0600000101010101" pitchFamily="50" charset="-127"/>
                </a:defRPr>
              </a:lvl9pPr>
            </a:lstStyle>
            <a:p>
              <a:pPr eaLnBrk="1" hangingPunct="1">
                <a:defRPr/>
              </a:pPr>
              <a:endParaRPr lang="ko-KR" altLang="en-US" dirty="0" smtClean="0"/>
            </a:p>
          </p:txBody>
        </p:sp>
      </p:grpSp>
      <p:sp>
        <p:nvSpPr>
          <p:cNvPr id="18455" name="Content Placeholder 1"/>
          <p:cNvSpPr>
            <a:spLocks noGrp="1"/>
          </p:cNvSpPr>
          <p:nvPr>
            <p:ph idx="4294967295"/>
          </p:nvPr>
        </p:nvSpPr>
        <p:spPr>
          <a:xfrm>
            <a:off x="584200" y="3735388"/>
            <a:ext cx="5141913" cy="20701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500"/>
              <a:t>Communication can deliver information beyond what sensors can detect. E.g.:</a:t>
            </a:r>
          </a:p>
          <a:p>
            <a:pPr marL="492125" lvl="1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Status information (speed, location, heading, etc.) of each vehicle, even if it is not in line-of-sight</a:t>
            </a:r>
          </a:p>
          <a:p>
            <a:pPr marL="492125" lvl="1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Intention information (future planned trajectories, negotiation of future movement)</a:t>
            </a:r>
          </a:p>
          <a:p>
            <a:pPr marL="492125" lvl="1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Shared awareness (information exchange of detected objects, other events such as roadwork)</a:t>
            </a:r>
          </a:p>
        </p:txBody>
      </p:sp>
      <p:sp>
        <p:nvSpPr>
          <p:cNvPr id="18456" name="직사각형 36"/>
          <p:cNvSpPr>
            <a:spLocks noChangeArrowheads="1"/>
          </p:cNvSpPr>
          <p:nvPr/>
        </p:nvSpPr>
        <p:spPr bwMode="auto">
          <a:xfrm>
            <a:off x="911225" y="2600325"/>
            <a:ext cx="574675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 b="1">
                <a:solidFill>
                  <a:srgbClr val="FF0000"/>
                </a:solidFill>
              </a:rPr>
              <a:t>HV</a:t>
            </a:r>
            <a:endParaRPr lang="ko-KR" altLang="en-US" sz="1200" b="1">
              <a:solidFill>
                <a:srgbClr val="FF0000"/>
              </a:solidFill>
            </a:endParaRPr>
          </a:p>
        </p:txBody>
      </p:sp>
      <p:pic>
        <p:nvPicPr>
          <p:cNvPr id="18457" name="그림 2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925" y="3141663"/>
            <a:ext cx="261938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58" name="그림 660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2363" y="2838450"/>
            <a:ext cx="261937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59" name="그림 661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3825" y="2852738"/>
            <a:ext cx="2520950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60" name="그림 662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3925" y="5565775"/>
            <a:ext cx="2519363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61" name="그림 123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5863" y="5345113"/>
            <a:ext cx="490537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62" name="직사각형 548"/>
          <p:cNvSpPr>
            <a:spLocks noChangeArrowheads="1"/>
          </p:cNvSpPr>
          <p:nvPr/>
        </p:nvSpPr>
        <p:spPr bwMode="auto">
          <a:xfrm>
            <a:off x="220663" y="1377950"/>
            <a:ext cx="2324100" cy="287338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>
                <a:solidFill>
                  <a:schemeClr val="tx1"/>
                </a:solidFill>
              </a:rPr>
              <a:t>I will change lane X seconds later</a:t>
            </a:r>
            <a:endParaRPr lang="ko-KR" altLang="en-US" sz="1200">
              <a:solidFill>
                <a:schemeClr val="tx1"/>
              </a:solidFill>
            </a:endParaRPr>
          </a:p>
        </p:txBody>
      </p:sp>
      <p:sp>
        <p:nvSpPr>
          <p:cNvPr id="18463" name="직사각형 549"/>
          <p:cNvSpPr>
            <a:spLocks noChangeArrowheads="1"/>
          </p:cNvSpPr>
          <p:nvPr/>
        </p:nvSpPr>
        <p:spPr bwMode="auto">
          <a:xfrm>
            <a:off x="3654425" y="2022475"/>
            <a:ext cx="2324100" cy="287338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>
                <a:solidFill>
                  <a:schemeClr val="tx1"/>
                </a:solidFill>
              </a:rPr>
              <a:t>I’m here</a:t>
            </a:r>
            <a:endParaRPr lang="ko-KR" altLang="en-US" sz="1200">
              <a:solidFill>
                <a:schemeClr val="tx1"/>
              </a:solidFill>
            </a:endParaRPr>
          </a:p>
        </p:txBody>
      </p:sp>
      <p:sp>
        <p:nvSpPr>
          <p:cNvPr id="18464" name="직사각형 562"/>
          <p:cNvSpPr>
            <a:spLocks noChangeArrowheads="1"/>
          </p:cNvSpPr>
          <p:nvPr/>
        </p:nvSpPr>
        <p:spPr bwMode="auto">
          <a:xfrm>
            <a:off x="6792913" y="1635125"/>
            <a:ext cx="3148012" cy="206375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>
                <a:solidFill>
                  <a:schemeClr val="tx1"/>
                </a:solidFill>
              </a:rPr>
              <a:t>I’m on the curved road</a:t>
            </a:r>
            <a:endParaRPr lang="ko-KR" altLang="en-US" sz="1200">
              <a:solidFill>
                <a:schemeClr val="tx1"/>
              </a:solidFill>
            </a:endParaRPr>
          </a:p>
        </p:txBody>
      </p:sp>
      <p:sp>
        <p:nvSpPr>
          <p:cNvPr id="18465" name="직사각형 571"/>
          <p:cNvSpPr>
            <a:spLocks noChangeArrowheads="1"/>
          </p:cNvSpPr>
          <p:nvPr/>
        </p:nvSpPr>
        <p:spPr bwMode="auto">
          <a:xfrm>
            <a:off x="8818563" y="4581525"/>
            <a:ext cx="955675" cy="409575"/>
          </a:xfrm>
          <a:prstGeom prst="rect">
            <a:avLst/>
          </a:prstGeom>
          <a:solidFill>
            <a:srgbClr val="FFC000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sz="1200">
                <a:solidFill>
                  <a:schemeClr val="tx1"/>
                </a:solidFill>
              </a:rPr>
              <a:t>Road work at location K</a:t>
            </a:r>
            <a:endParaRPr lang="ko-KR" altLang="en-US" sz="1200">
              <a:solidFill>
                <a:schemeClr val="tx1"/>
              </a:solidFill>
            </a:endParaRPr>
          </a:p>
        </p:txBody>
      </p:sp>
      <p:grpSp>
        <p:nvGrpSpPr>
          <p:cNvPr id="18466" name="그룹 71"/>
          <p:cNvGrpSpPr>
            <a:grpSpLocks/>
          </p:cNvGrpSpPr>
          <p:nvPr/>
        </p:nvGrpSpPr>
        <p:grpSpPr bwMode="auto">
          <a:xfrm rot="-9511606">
            <a:off x="1903413" y="1552575"/>
            <a:ext cx="447675" cy="400050"/>
            <a:chOff x="7833121" y="2348208"/>
            <a:chExt cx="648115" cy="597509"/>
          </a:xfrm>
        </p:grpSpPr>
        <p:sp>
          <p:nvSpPr>
            <p:cNvPr id="667" name="원호 666"/>
            <p:cNvSpPr/>
            <p:nvPr/>
          </p:nvSpPr>
          <p:spPr bwMode="auto">
            <a:xfrm>
              <a:off x="7833121" y="2348208"/>
              <a:ext cx="648115" cy="597509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68" name="원호 667"/>
            <p:cNvSpPr/>
            <p:nvPr/>
          </p:nvSpPr>
          <p:spPr bwMode="auto">
            <a:xfrm>
              <a:off x="7905210" y="2395464"/>
              <a:ext cx="505622" cy="507408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69" name="원호 668"/>
            <p:cNvSpPr/>
            <p:nvPr/>
          </p:nvSpPr>
          <p:spPr bwMode="auto">
            <a:xfrm>
              <a:off x="7977913" y="2452535"/>
              <a:ext cx="358532" cy="38885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0" name="원호 669"/>
            <p:cNvSpPr/>
            <p:nvPr/>
          </p:nvSpPr>
          <p:spPr bwMode="auto">
            <a:xfrm>
              <a:off x="8049159" y="2530779"/>
              <a:ext cx="216038" cy="23236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  <p:grpSp>
        <p:nvGrpSpPr>
          <p:cNvPr id="18467" name="그룹 71"/>
          <p:cNvGrpSpPr>
            <a:grpSpLocks/>
          </p:cNvGrpSpPr>
          <p:nvPr/>
        </p:nvGrpSpPr>
        <p:grpSpPr bwMode="auto">
          <a:xfrm rot="-9511606">
            <a:off x="4405313" y="2168525"/>
            <a:ext cx="447675" cy="400050"/>
            <a:chOff x="7833121" y="2348208"/>
            <a:chExt cx="648115" cy="597509"/>
          </a:xfrm>
        </p:grpSpPr>
        <p:sp>
          <p:nvSpPr>
            <p:cNvPr id="672" name="원호 671"/>
            <p:cNvSpPr/>
            <p:nvPr/>
          </p:nvSpPr>
          <p:spPr bwMode="auto">
            <a:xfrm>
              <a:off x="7833121" y="2348208"/>
              <a:ext cx="648115" cy="597509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3" name="원호 672"/>
            <p:cNvSpPr/>
            <p:nvPr/>
          </p:nvSpPr>
          <p:spPr bwMode="auto">
            <a:xfrm>
              <a:off x="7905210" y="2395464"/>
              <a:ext cx="505622" cy="507408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4" name="원호 673"/>
            <p:cNvSpPr/>
            <p:nvPr/>
          </p:nvSpPr>
          <p:spPr bwMode="auto">
            <a:xfrm>
              <a:off x="7977913" y="2452535"/>
              <a:ext cx="358532" cy="38885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5" name="원호 674"/>
            <p:cNvSpPr/>
            <p:nvPr/>
          </p:nvSpPr>
          <p:spPr bwMode="auto">
            <a:xfrm>
              <a:off x="8049159" y="2530779"/>
              <a:ext cx="216038" cy="23236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  <p:grpSp>
        <p:nvGrpSpPr>
          <p:cNvPr id="18468" name="그룹 71"/>
          <p:cNvGrpSpPr>
            <a:grpSpLocks/>
          </p:cNvGrpSpPr>
          <p:nvPr/>
        </p:nvGrpSpPr>
        <p:grpSpPr bwMode="auto">
          <a:xfrm rot="-9511606">
            <a:off x="7316788" y="1736725"/>
            <a:ext cx="447675" cy="400050"/>
            <a:chOff x="7833121" y="2348208"/>
            <a:chExt cx="648115" cy="597509"/>
          </a:xfrm>
        </p:grpSpPr>
        <p:sp>
          <p:nvSpPr>
            <p:cNvPr id="677" name="원호 676"/>
            <p:cNvSpPr/>
            <p:nvPr/>
          </p:nvSpPr>
          <p:spPr bwMode="auto">
            <a:xfrm>
              <a:off x="7833121" y="2348208"/>
              <a:ext cx="648115" cy="597509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8" name="원호 677"/>
            <p:cNvSpPr/>
            <p:nvPr/>
          </p:nvSpPr>
          <p:spPr bwMode="auto">
            <a:xfrm>
              <a:off x="7905210" y="2395464"/>
              <a:ext cx="505622" cy="507408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79" name="원호 678"/>
            <p:cNvSpPr/>
            <p:nvPr/>
          </p:nvSpPr>
          <p:spPr bwMode="auto">
            <a:xfrm>
              <a:off x="7977913" y="2452535"/>
              <a:ext cx="358532" cy="38885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80" name="원호 679"/>
            <p:cNvSpPr/>
            <p:nvPr/>
          </p:nvSpPr>
          <p:spPr bwMode="auto">
            <a:xfrm>
              <a:off x="8049159" y="2530779"/>
              <a:ext cx="216038" cy="23236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  <p:grpSp>
        <p:nvGrpSpPr>
          <p:cNvPr id="18469" name="그룹 71"/>
          <p:cNvGrpSpPr>
            <a:grpSpLocks/>
          </p:cNvGrpSpPr>
          <p:nvPr/>
        </p:nvGrpSpPr>
        <p:grpSpPr bwMode="auto">
          <a:xfrm rot="-9511606">
            <a:off x="8850313" y="4876800"/>
            <a:ext cx="447675" cy="400050"/>
            <a:chOff x="7833121" y="2348208"/>
            <a:chExt cx="648115" cy="597509"/>
          </a:xfrm>
        </p:grpSpPr>
        <p:sp>
          <p:nvSpPr>
            <p:cNvPr id="682" name="원호 681"/>
            <p:cNvSpPr/>
            <p:nvPr/>
          </p:nvSpPr>
          <p:spPr bwMode="auto">
            <a:xfrm>
              <a:off x="7833121" y="2348208"/>
              <a:ext cx="648115" cy="597509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83" name="원호 682"/>
            <p:cNvSpPr/>
            <p:nvPr/>
          </p:nvSpPr>
          <p:spPr bwMode="auto">
            <a:xfrm>
              <a:off x="7905210" y="2395464"/>
              <a:ext cx="505622" cy="507408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84" name="원호 683"/>
            <p:cNvSpPr/>
            <p:nvPr/>
          </p:nvSpPr>
          <p:spPr bwMode="auto">
            <a:xfrm>
              <a:off x="7977913" y="2452535"/>
              <a:ext cx="358532" cy="38885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685" name="원호 684"/>
            <p:cNvSpPr/>
            <p:nvPr/>
          </p:nvSpPr>
          <p:spPr bwMode="auto">
            <a:xfrm>
              <a:off x="8049159" y="2530779"/>
              <a:ext cx="216038" cy="232365"/>
            </a:xfrm>
            <a:prstGeom prst="arc">
              <a:avLst/>
            </a:prstGeom>
            <a:noFill/>
            <a:ln w="9525" cap="flat" cmpd="sng" algn="ctr">
              <a:solidFill>
                <a:srgbClr val="0072A8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Slide Number Placeholder 2"/>
          <p:cNvSpPr>
            <a:spLocks noGrp="1"/>
          </p:cNvSpPr>
          <p:nvPr>
            <p:ph type="sldNum" sz="quarter" idx="13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0EAFBE55-306B-2344-9597-50B44FF18184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7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0483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Or, even cloud computing can be supported</a:t>
            </a:r>
          </a:p>
        </p:txBody>
      </p:sp>
      <p:grpSp>
        <p:nvGrpSpPr>
          <p:cNvPr id="20484" name="그룹 2"/>
          <p:cNvGrpSpPr>
            <a:grpSpLocks/>
          </p:cNvGrpSpPr>
          <p:nvPr/>
        </p:nvGrpSpPr>
        <p:grpSpPr bwMode="auto">
          <a:xfrm>
            <a:off x="452438" y="2938463"/>
            <a:ext cx="1490662" cy="1066800"/>
            <a:chOff x="1601625" y="3381897"/>
            <a:chExt cx="2576480" cy="2329672"/>
          </a:xfrm>
        </p:grpSpPr>
        <p:grpSp>
          <p:nvGrpSpPr>
            <p:cNvPr id="20506" name="Group 27"/>
            <p:cNvGrpSpPr>
              <a:grpSpLocks noChangeAspect="1"/>
            </p:cNvGrpSpPr>
            <p:nvPr/>
          </p:nvGrpSpPr>
          <p:grpSpPr bwMode="auto">
            <a:xfrm>
              <a:off x="2317620" y="4102451"/>
              <a:ext cx="1578510" cy="933362"/>
              <a:chOff x="173" y="619"/>
              <a:chExt cx="5499" cy="2644"/>
            </a:xfrm>
          </p:grpSpPr>
          <p:sp>
            <p:nvSpPr>
              <p:cNvPr id="20518" name="Freeform 28"/>
              <p:cNvSpPr>
                <a:spLocks noChangeAspect="1"/>
              </p:cNvSpPr>
              <p:nvPr/>
            </p:nvSpPr>
            <p:spPr bwMode="auto">
              <a:xfrm>
                <a:off x="173" y="813"/>
                <a:ext cx="5499" cy="2253"/>
              </a:xfrm>
              <a:custGeom>
                <a:avLst/>
                <a:gdLst>
                  <a:gd name="T0" fmla="*/ 1 w 9242"/>
                  <a:gd name="T1" fmla="*/ 1 h 3786"/>
                  <a:gd name="T2" fmla="*/ 1 w 9242"/>
                  <a:gd name="T3" fmla="*/ 1 h 3786"/>
                  <a:gd name="T4" fmla="*/ 1 w 9242"/>
                  <a:gd name="T5" fmla="*/ 1 h 3786"/>
                  <a:gd name="T6" fmla="*/ 1 w 9242"/>
                  <a:gd name="T7" fmla="*/ 1 h 3786"/>
                  <a:gd name="T8" fmla="*/ 1 w 9242"/>
                  <a:gd name="T9" fmla="*/ 1 h 3786"/>
                  <a:gd name="T10" fmla="*/ 1 w 9242"/>
                  <a:gd name="T11" fmla="*/ 1 h 3786"/>
                  <a:gd name="T12" fmla="*/ 1 w 9242"/>
                  <a:gd name="T13" fmla="*/ 1 h 3786"/>
                  <a:gd name="T14" fmla="*/ 1 w 9242"/>
                  <a:gd name="T15" fmla="*/ 1 h 3786"/>
                  <a:gd name="T16" fmla="*/ 1 w 9242"/>
                  <a:gd name="T17" fmla="*/ 1 h 3786"/>
                  <a:gd name="T18" fmla="*/ 1 w 9242"/>
                  <a:gd name="T19" fmla="*/ 1 h 3786"/>
                  <a:gd name="T20" fmla="*/ 1 w 9242"/>
                  <a:gd name="T21" fmla="*/ 1 h 3786"/>
                  <a:gd name="T22" fmla="*/ 1 w 9242"/>
                  <a:gd name="T23" fmla="*/ 1 h 3786"/>
                  <a:gd name="T24" fmla="*/ 1 w 9242"/>
                  <a:gd name="T25" fmla="*/ 1 h 3786"/>
                  <a:gd name="T26" fmla="*/ 1 w 9242"/>
                  <a:gd name="T27" fmla="*/ 1 h 3786"/>
                  <a:gd name="T28" fmla="*/ 1 w 9242"/>
                  <a:gd name="T29" fmla="*/ 1 h 3786"/>
                  <a:gd name="T30" fmla="*/ 1 w 9242"/>
                  <a:gd name="T31" fmla="*/ 1 h 3786"/>
                  <a:gd name="T32" fmla="*/ 1 w 9242"/>
                  <a:gd name="T33" fmla="*/ 1 h 3786"/>
                  <a:gd name="T34" fmla="*/ 1 w 9242"/>
                  <a:gd name="T35" fmla="*/ 1 h 3786"/>
                  <a:gd name="T36" fmla="*/ 1 w 9242"/>
                  <a:gd name="T37" fmla="*/ 1 h 3786"/>
                  <a:gd name="T38" fmla="*/ 1 w 9242"/>
                  <a:gd name="T39" fmla="*/ 1 h 3786"/>
                  <a:gd name="T40" fmla="*/ 1 w 9242"/>
                  <a:gd name="T41" fmla="*/ 1 h 3786"/>
                  <a:gd name="T42" fmla="*/ 1 w 9242"/>
                  <a:gd name="T43" fmla="*/ 1 h 3786"/>
                  <a:gd name="T44" fmla="*/ 1 w 9242"/>
                  <a:gd name="T45" fmla="*/ 1 h 3786"/>
                  <a:gd name="T46" fmla="*/ 1 w 9242"/>
                  <a:gd name="T47" fmla="*/ 1 h 3786"/>
                  <a:gd name="T48" fmla="*/ 1 w 9242"/>
                  <a:gd name="T49" fmla="*/ 1 h 3786"/>
                  <a:gd name="T50" fmla="*/ 1 w 9242"/>
                  <a:gd name="T51" fmla="*/ 1 h 3786"/>
                  <a:gd name="T52" fmla="*/ 1 w 9242"/>
                  <a:gd name="T53" fmla="*/ 1 h 3786"/>
                  <a:gd name="T54" fmla="*/ 1 w 9242"/>
                  <a:gd name="T55" fmla="*/ 1 h 3786"/>
                  <a:gd name="T56" fmla="*/ 1 w 9242"/>
                  <a:gd name="T57" fmla="*/ 1 h 3786"/>
                  <a:gd name="T58" fmla="*/ 1 w 9242"/>
                  <a:gd name="T59" fmla="*/ 1 h 3786"/>
                  <a:gd name="T60" fmla="*/ 1 w 9242"/>
                  <a:gd name="T61" fmla="*/ 1 h 3786"/>
                  <a:gd name="T62" fmla="*/ 1 w 9242"/>
                  <a:gd name="T63" fmla="*/ 1 h 3786"/>
                  <a:gd name="T64" fmla="*/ 1 w 9242"/>
                  <a:gd name="T65" fmla="*/ 1 h 3786"/>
                  <a:gd name="T66" fmla="*/ 1 w 9242"/>
                  <a:gd name="T67" fmla="*/ 1 h 3786"/>
                  <a:gd name="T68" fmla="*/ 0 w 9242"/>
                  <a:gd name="T69" fmla="*/ 1 h 3786"/>
                  <a:gd name="T70" fmla="*/ 1 w 9242"/>
                  <a:gd name="T71" fmla="*/ 1 h 3786"/>
                  <a:gd name="T72" fmla="*/ 1 w 9242"/>
                  <a:gd name="T73" fmla="*/ 1 h 3786"/>
                  <a:gd name="T74" fmla="*/ 1 w 9242"/>
                  <a:gd name="T75" fmla="*/ 1 h 3786"/>
                  <a:gd name="T76" fmla="*/ 1 w 9242"/>
                  <a:gd name="T77" fmla="*/ 1 h 378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9242"/>
                  <a:gd name="T118" fmla="*/ 0 h 3786"/>
                  <a:gd name="T119" fmla="*/ 9242 w 9242"/>
                  <a:gd name="T120" fmla="*/ 3786 h 378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9242" h="3786">
                    <a:moveTo>
                      <a:pt x="444" y="208"/>
                    </a:moveTo>
                    <a:lnTo>
                      <a:pt x="498" y="186"/>
                    </a:lnTo>
                    <a:lnTo>
                      <a:pt x="520" y="143"/>
                    </a:lnTo>
                    <a:lnTo>
                      <a:pt x="535" y="136"/>
                    </a:lnTo>
                    <a:cubicBezTo>
                      <a:pt x="553" y="133"/>
                      <a:pt x="555" y="138"/>
                      <a:pt x="627" y="127"/>
                    </a:cubicBezTo>
                    <a:cubicBezTo>
                      <a:pt x="699" y="116"/>
                      <a:pt x="760" y="85"/>
                      <a:pt x="967" y="68"/>
                    </a:cubicBezTo>
                    <a:cubicBezTo>
                      <a:pt x="1174" y="51"/>
                      <a:pt x="1572" y="32"/>
                      <a:pt x="1867" y="27"/>
                    </a:cubicBezTo>
                    <a:cubicBezTo>
                      <a:pt x="2162" y="22"/>
                      <a:pt x="2456" y="37"/>
                      <a:pt x="2737" y="39"/>
                    </a:cubicBezTo>
                    <a:cubicBezTo>
                      <a:pt x="3018" y="41"/>
                      <a:pt x="3054" y="41"/>
                      <a:pt x="3556" y="41"/>
                    </a:cubicBezTo>
                    <a:cubicBezTo>
                      <a:pt x="4058" y="41"/>
                      <a:pt x="5224" y="44"/>
                      <a:pt x="5748" y="42"/>
                    </a:cubicBezTo>
                    <a:cubicBezTo>
                      <a:pt x="6272" y="40"/>
                      <a:pt x="6401" y="31"/>
                      <a:pt x="6700" y="26"/>
                    </a:cubicBezTo>
                    <a:cubicBezTo>
                      <a:pt x="6999" y="21"/>
                      <a:pt x="7278" y="0"/>
                      <a:pt x="7542" y="11"/>
                    </a:cubicBezTo>
                    <a:cubicBezTo>
                      <a:pt x="7806" y="22"/>
                      <a:pt x="8080" y="37"/>
                      <a:pt x="8286" y="92"/>
                    </a:cubicBezTo>
                    <a:cubicBezTo>
                      <a:pt x="8492" y="147"/>
                      <a:pt x="8639" y="193"/>
                      <a:pt x="8779" y="339"/>
                    </a:cubicBezTo>
                    <a:cubicBezTo>
                      <a:pt x="8919" y="485"/>
                      <a:pt x="9051" y="708"/>
                      <a:pt x="9128" y="968"/>
                    </a:cubicBezTo>
                    <a:cubicBezTo>
                      <a:pt x="9205" y="1228"/>
                      <a:pt x="9242" y="1590"/>
                      <a:pt x="9242" y="1897"/>
                    </a:cubicBezTo>
                    <a:cubicBezTo>
                      <a:pt x="9242" y="2204"/>
                      <a:pt x="9209" y="2550"/>
                      <a:pt x="9131" y="2809"/>
                    </a:cubicBezTo>
                    <a:cubicBezTo>
                      <a:pt x="9053" y="3068"/>
                      <a:pt x="8921" y="3301"/>
                      <a:pt x="8773" y="3450"/>
                    </a:cubicBezTo>
                    <a:cubicBezTo>
                      <a:pt x="8625" y="3600"/>
                      <a:pt x="8464" y="3647"/>
                      <a:pt x="8242" y="3702"/>
                    </a:cubicBezTo>
                    <a:cubicBezTo>
                      <a:pt x="8020" y="3757"/>
                      <a:pt x="7704" y="3770"/>
                      <a:pt x="7442" y="3778"/>
                    </a:cubicBezTo>
                    <a:cubicBezTo>
                      <a:pt x="7180" y="3786"/>
                      <a:pt x="6955" y="3754"/>
                      <a:pt x="6670" y="3749"/>
                    </a:cubicBezTo>
                    <a:cubicBezTo>
                      <a:pt x="6385" y="3744"/>
                      <a:pt x="6252" y="3748"/>
                      <a:pt x="5732" y="3747"/>
                    </a:cubicBezTo>
                    <a:cubicBezTo>
                      <a:pt x="5212" y="3746"/>
                      <a:pt x="4052" y="3743"/>
                      <a:pt x="3552" y="3743"/>
                    </a:cubicBezTo>
                    <a:cubicBezTo>
                      <a:pt x="3052" y="3743"/>
                      <a:pt x="3013" y="3746"/>
                      <a:pt x="2732" y="3749"/>
                    </a:cubicBezTo>
                    <a:cubicBezTo>
                      <a:pt x="2451" y="3752"/>
                      <a:pt x="2158" y="3764"/>
                      <a:pt x="1864" y="3759"/>
                    </a:cubicBezTo>
                    <a:cubicBezTo>
                      <a:pt x="1570" y="3753"/>
                      <a:pt x="1180" y="3733"/>
                      <a:pt x="970" y="3715"/>
                    </a:cubicBezTo>
                    <a:cubicBezTo>
                      <a:pt x="760" y="3698"/>
                      <a:pt x="677" y="3667"/>
                      <a:pt x="602" y="3655"/>
                    </a:cubicBezTo>
                    <a:cubicBezTo>
                      <a:pt x="527" y="3642"/>
                      <a:pt x="536" y="3651"/>
                      <a:pt x="518" y="3641"/>
                    </a:cubicBezTo>
                    <a:lnTo>
                      <a:pt x="496" y="3597"/>
                    </a:lnTo>
                    <a:lnTo>
                      <a:pt x="454" y="3579"/>
                    </a:lnTo>
                    <a:lnTo>
                      <a:pt x="438" y="3573"/>
                    </a:lnTo>
                    <a:cubicBezTo>
                      <a:pt x="408" y="3548"/>
                      <a:pt x="327" y="3508"/>
                      <a:pt x="276" y="3425"/>
                    </a:cubicBezTo>
                    <a:cubicBezTo>
                      <a:pt x="225" y="3341"/>
                      <a:pt x="168" y="3207"/>
                      <a:pt x="130" y="3072"/>
                    </a:cubicBezTo>
                    <a:cubicBezTo>
                      <a:pt x="92" y="2936"/>
                      <a:pt x="68" y="2806"/>
                      <a:pt x="46" y="2612"/>
                    </a:cubicBezTo>
                    <a:cubicBezTo>
                      <a:pt x="24" y="2419"/>
                      <a:pt x="0" y="2153"/>
                      <a:pt x="0" y="1913"/>
                    </a:cubicBezTo>
                    <a:cubicBezTo>
                      <a:pt x="0" y="1672"/>
                      <a:pt x="22" y="1368"/>
                      <a:pt x="45" y="1168"/>
                    </a:cubicBezTo>
                    <a:cubicBezTo>
                      <a:pt x="68" y="968"/>
                      <a:pt x="98" y="849"/>
                      <a:pt x="136" y="713"/>
                    </a:cubicBezTo>
                    <a:cubicBezTo>
                      <a:pt x="174" y="576"/>
                      <a:pt x="225" y="435"/>
                      <a:pt x="276" y="351"/>
                    </a:cubicBezTo>
                    <a:cubicBezTo>
                      <a:pt x="327" y="266"/>
                      <a:pt x="444" y="208"/>
                      <a:pt x="444" y="208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19" name="Freeform 29"/>
              <p:cNvSpPr>
                <a:spLocks noChangeAspect="1"/>
              </p:cNvSpPr>
              <p:nvPr/>
            </p:nvSpPr>
            <p:spPr bwMode="auto">
              <a:xfrm>
                <a:off x="5552" y="1492"/>
                <a:ext cx="108" cy="895"/>
              </a:xfrm>
              <a:custGeom>
                <a:avLst/>
                <a:gdLst>
                  <a:gd name="T0" fmla="*/ 4913 w 93"/>
                  <a:gd name="T1" fmla="*/ 13861 h 768"/>
                  <a:gd name="T2" fmla="*/ 27626 w 93"/>
                  <a:gd name="T3" fmla="*/ 173375 h 768"/>
                  <a:gd name="T4" fmla="*/ 40773 w 93"/>
                  <a:gd name="T5" fmla="*/ 434267 h 768"/>
                  <a:gd name="T6" fmla="*/ 25451 w 93"/>
                  <a:gd name="T7" fmla="*/ 697175 h 768"/>
                  <a:gd name="T8" fmla="*/ 0 w 93"/>
                  <a:gd name="T9" fmla="*/ 863517 h 768"/>
                  <a:gd name="T10" fmla="*/ 5705 w 93"/>
                  <a:gd name="T11" fmla="*/ 868063 h 768"/>
                  <a:gd name="T12" fmla="*/ 31190 w 93"/>
                  <a:gd name="T13" fmla="*/ 869355 h 768"/>
                  <a:gd name="T14" fmla="*/ 60731 w 93"/>
                  <a:gd name="T15" fmla="*/ 829336 h 768"/>
                  <a:gd name="T16" fmla="*/ 63855 w 93"/>
                  <a:gd name="T17" fmla="*/ 818007 h 768"/>
                  <a:gd name="T18" fmla="*/ 83691 w 93"/>
                  <a:gd name="T19" fmla="*/ 652396 h 768"/>
                  <a:gd name="T20" fmla="*/ 89275 w 93"/>
                  <a:gd name="T21" fmla="*/ 436967 h 768"/>
                  <a:gd name="T22" fmla="*/ 81901 w 93"/>
                  <a:gd name="T23" fmla="*/ 212427 h 768"/>
                  <a:gd name="T24" fmla="*/ 61733 w 93"/>
                  <a:gd name="T25" fmla="*/ 34720 h 768"/>
                  <a:gd name="T26" fmla="*/ 53159 w 93"/>
                  <a:gd name="T27" fmla="*/ 25738 h 768"/>
                  <a:gd name="T28" fmla="*/ 26991 w 93"/>
                  <a:gd name="T29" fmla="*/ 3 h 768"/>
                  <a:gd name="T30" fmla="*/ 10376 w 93"/>
                  <a:gd name="T31" fmla="*/ 7515 h 768"/>
                  <a:gd name="T32" fmla="*/ 4913 w 93"/>
                  <a:gd name="T33" fmla="*/ 13861 h 76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3"/>
                  <a:gd name="T52" fmla="*/ 0 h 768"/>
                  <a:gd name="T53" fmla="*/ 93 w 93"/>
                  <a:gd name="T54" fmla="*/ 768 h 76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3" h="768">
                    <a:moveTo>
                      <a:pt x="5" y="12"/>
                    </a:moveTo>
                    <a:cubicBezTo>
                      <a:pt x="8" y="36"/>
                      <a:pt x="23" y="91"/>
                      <a:pt x="29" y="153"/>
                    </a:cubicBezTo>
                    <a:cubicBezTo>
                      <a:pt x="35" y="215"/>
                      <a:pt x="43" y="305"/>
                      <a:pt x="42" y="381"/>
                    </a:cubicBezTo>
                    <a:cubicBezTo>
                      <a:pt x="41" y="457"/>
                      <a:pt x="33" y="548"/>
                      <a:pt x="26" y="611"/>
                    </a:cubicBezTo>
                    <a:cubicBezTo>
                      <a:pt x="19" y="674"/>
                      <a:pt x="3" y="732"/>
                      <a:pt x="0" y="757"/>
                    </a:cubicBezTo>
                    <a:lnTo>
                      <a:pt x="6" y="761"/>
                    </a:lnTo>
                    <a:cubicBezTo>
                      <a:pt x="11" y="762"/>
                      <a:pt x="22" y="768"/>
                      <a:pt x="32" y="762"/>
                    </a:cubicBezTo>
                    <a:cubicBezTo>
                      <a:pt x="41" y="757"/>
                      <a:pt x="56" y="735"/>
                      <a:pt x="62" y="728"/>
                    </a:cubicBezTo>
                    <a:lnTo>
                      <a:pt x="66" y="717"/>
                    </a:lnTo>
                    <a:cubicBezTo>
                      <a:pt x="70" y="691"/>
                      <a:pt x="82" y="628"/>
                      <a:pt x="86" y="572"/>
                    </a:cubicBezTo>
                    <a:cubicBezTo>
                      <a:pt x="90" y="516"/>
                      <a:pt x="93" y="447"/>
                      <a:pt x="93" y="383"/>
                    </a:cubicBezTo>
                    <a:cubicBezTo>
                      <a:pt x="93" y="319"/>
                      <a:pt x="89" y="245"/>
                      <a:pt x="84" y="186"/>
                    </a:cubicBezTo>
                    <a:cubicBezTo>
                      <a:pt x="79" y="127"/>
                      <a:pt x="68" y="57"/>
                      <a:pt x="63" y="30"/>
                    </a:cubicBezTo>
                    <a:lnTo>
                      <a:pt x="54" y="23"/>
                    </a:lnTo>
                    <a:cubicBezTo>
                      <a:pt x="48" y="19"/>
                      <a:pt x="35" y="6"/>
                      <a:pt x="28" y="3"/>
                    </a:cubicBezTo>
                    <a:cubicBezTo>
                      <a:pt x="21" y="0"/>
                      <a:pt x="14" y="6"/>
                      <a:pt x="10" y="7"/>
                    </a:cubicBezTo>
                    <a:lnTo>
                      <a:pt x="5" y="12"/>
                    </a:ln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0" name="Freeform 30"/>
              <p:cNvSpPr>
                <a:spLocks noChangeAspect="1"/>
              </p:cNvSpPr>
              <p:nvPr/>
            </p:nvSpPr>
            <p:spPr bwMode="auto">
              <a:xfrm>
                <a:off x="223" y="1141"/>
                <a:ext cx="385" cy="1602"/>
              </a:xfrm>
              <a:custGeom>
                <a:avLst/>
                <a:gdLst>
                  <a:gd name="T0" fmla="*/ 1 w 647"/>
                  <a:gd name="T1" fmla="*/ 1 h 2749"/>
                  <a:gd name="T2" fmla="*/ 1 w 647"/>
                  <a:gd name="T3" fmla="*/ 1 h 2749"/>
                  <a:gd name="T4" fmla="*/ 1 w 647"/>
                  <a:gd name="T5" fmla="*/ 1 h 2749"/>
                  <a:gd name="T6" fmla="*/ 1 w 647"/>
                  <a:gd name="T7" fmla="*/ 1 h 2749"/>
                  <a:gd name="T8" fmla="*/ 1 w 647"/>
                  <a:gd name="T9" fmla="*/ 1 h 2749"/>
                  <a:gd name="T10" fmla="*/ 1 w 647"/>
                  <a:gd name="T11" fmla="*/ 1 h 2749"/>
                  <a:gd name="T12" fmla="*/ 0 w 647"/>
                  <a:gd name="T13" fmla="*/ 1 h 2749"/>
                  <a:gd name="T14" fmla="*/ 1 w 647"/>
                  <a:gd name="T15" fmla="*/ 1 h 2749"/>
                  <a:gd name="T16" fmla="*/ 1 w 647"/>
                  <a:gd name="T17" fmla="*/ 1 h 2749"/>
                  <a:gd name="T18" fmla="*/ 1 w 647"/>
                  <a:gd name="T19" fmla="*/ 1 h 2749"/>
                  <a:gd name="T20" fmla="*/ 1 w 647"/>
                  <a:gd name="T21" fmla="*/ 1 h 2749"/>
                  <a:gd name="T22" fmla="*/ 1 w 647"/>
                  <a:gd name="T23" fmla="*/ 1 h 2749"/>
                  <a:gd name="T24" fmla="*/ 1 w 647"/>
                  <a:gd name="T25" fmla="*/ 1 h 27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47"/>
                  <a:gd name="T40" fmla="*/ 0 h 2749"/>
                  <a:gd name="T41" fmla="*/ 647 w 647"/>
                  <a:gd name="T42" fmla="*/ 2749 h 274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47" h="2749">
                    <a:moveTo>
                      <a:pt x="628" y="2635"/>
                    </a:moveTo>
                    <a:cubicBezTo>
                      <a:pt x="624" y="2645"/>
                      <a:pt x="645" y="2678"/>
                      <a:pt x="604" y="2695"/>
                    </a:cubicBezTo>
                    <a:cubicBezTo>
                      <a:pt x="563" y="2712"/>
                      <a:pt x="443" y="2749"/>
                      <a:pt x="382" y="2738"/>
                    </a:cubicBezTo>
                    <a:cubicBezTo>
                      <a:pt x="321" y="2727"/>
                      <a:pt x="287" y="2697"/>
                      <a:pt x="240" y="2627"/>
                    </a:cubicBezTo>
                    <a:cubicBezTo>
                      <a:pt x="193" y="2557"/>
                      <a:pt x="134" y="2430"/>
                      <a:pt x="100" y="2319"/>
                    </a:cubicBezTo>
                    <a:cubicBezTo>
                      <a:pt x="66" y="2208"/>
                      <a:pt x="53" y="2119"/>
                      <a:pt x="36" y="1959"/>
                    </a:cubicBezTo>
                    <a:cubicBezTo>
                      <a:pt x="19" y="1799"/>
                      <a:pt x="0" y="1553"/>
                      <a:pt x="0" y="1359"/>
                    </a:cubicBezTo>
                    <a:cubicBezTo>
                      <a:pt x="0" y="1165"/>
                      <a:pt x="19" y="944"/>
                      <a:pt x="37" y="792"/>
                    </a:cubicBezTo>
                    <a:cubicBezTo>
                      <a:pt x="55" y="640"/>
                      <a:pt x="77" y="560"/>
                      <a:pt x="111" y="449"/>
                    </a:cubicBezTo>
                    <a:cubicBezTo>
                      <a:pt x="145" y="338"/>
                      <a:pt x="198" y="198"/>
                      <a:pt x="240" y="125"/>
                    </a:cubicBezTo>
                    <a:cubicBezTo>
                      <a:pt x="282" y="52"/>
                      <a:pt x="303" y="22"/>
                      <a:pt x="363" y="11"/>
                    </a:cubicBezTo>
                    <a:cubicBezTo>
                      <a:pt x="423" y="0"/>
                      <a:pt x="559" y="43"/>
                      <a:pt x="603" y="59"/>
                    </a:cubicBezTo>
                    <a:cubicBezTo>
                      <a:pt x="647" y="75"/>
                      <a:pt x="621" y="102"/>
                      <a:pt x="625" y="110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1" name="Freeform 31"/>
              <p:cNvSpPr>
                <a:spLocks noChangeAspect="1"/>
              </p:cNvSpPr>
              <p:nvPr/>
            </p:nvSpPr>
            <p:spPr bwMode="auto">
              <a:xfrm>
                <a:off x="448" y="1155"/>
                <a:ext cx="311" cy="1565"/>
              </a:xfrm>
              <a:custGeom>
                <a:avLst/>
                <a:gdLst>
                  <a:gd name="T0" fmla="*/ 1 w 523"/>
                  <a:gd name="T1" fmla="*/ 1 h 2682"/>
                  <a:gd name="T2" fmla="*/ 1 w 523"/>
                  <a:gd name="T3" fmla="*/ 1 h 2682"/>
                  <a:gd name="T4" fmla="*/ 1 w 523"/>
                  <a:gd name="T5" fmla="*/ 1 h 2682"/>
                  <a:gd name="T6" fmla="*/ 1 w 523"/>
                  <a:gd name="T7" fmla="*/ 1 h 2682"/>
                  <a:gd name="T8" fmla="*/ 1 w 523"/>
                  <a:gd name="T9" fmla="*/ 1 h 2682"/>
                  <a:gd name="T10" fmla="*/ 1 w 523"/>
                  <a:gd name="T11" fmla="*/ 1 h 2682"/>
                  <a:gd name="T12" fmla="*/ 1 w 523"/>
                  <a:gd name="T13" fmla="*/ 1 h 268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23"/>
                  <a:gd name="T22" fmla="*/ 0 h 2682"/>
                  <a:gd name="T23" fmla="*/ 523 w 523"/>
                  <a:gd name="T24" fmla="*/ 2682 h 268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23" h="2682">
                    <a:moveTo>
                      <a:pt x="523" y="2682"/>
                    </a:moveTo>
                    <a:cubicBezTo>
                      <a:pt x="469" y="2662"/>
                      <a:pt x="279" y="2669"/>
                      <a:pt x="197" y="2559"/>
                    </a:cubicBezTo>
                    <a:cubicBezTo>
                      <a:pt x="115" y="2449"/>
                      <a:pt x="66" y="2226"/>
                      <a:pt x="33" y="2023"/>
                    </a:cubicBezTo>
                    <a:cubicBezTo>
                      <a:pt x="0" y="1820"/>
                      <a:pt x="0" y="1567"/>
                      <a:pt x="1" y="1339"/>
                    </a:cubicBezTo>
                    <a:cubicBezTo>
                      <a:pt x="2" y="1111"/>
                      <a:pt x="4" y="860"/>
                      <a:pt x="41" y="655"/>
                    </a:cubicBezTo>
                    <a:cubicBezTo>
                      <a:pt x="78" y="450"/>
                      <a:pt x="145" y="214"/>
                      <a:pt x="225" y="107"/>
                    </a:cubicBezTo>
                    <a:cubicBezTo>
                      <a:pt x="305" y="0"/>
                      <a:pt x="461" y="32"/>
                      <a:pt x="523" y="12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2" name="Freeform 32"/>
              <p:cNvSpPr>
                <a:spLocks noChangeAspect="1"/>
              </p:cNvSpPr>
              <p:nvPr/>
            </p:nvSpPr>
            <p:spPr bwMode="auto">
              <a:xfrm>
                <a:off x="434" y="1007"/>
                <a:ext cx="332" cy="1861"/>
              </a:xfrm>
              <a:custGeom>
                <a:avLst/>
                <a:gdLst>
                  <a:gd name="T0" fmla="*/ 0 w 558"/>
                  <a:gd name="T1" fmla="*/ 1 h 3174"/>
                  <a:gd name="T2" fmla="*/ 1 w 558"/>
                  <a:gd name="T3" fmla="*/ 1 h 3174"/>
                  <a:gd name="T4" fmla="*/ 1 w 558"/>
                  <a:gd name="T5" fmla="*/ 1 h 3174"/>
                  <a:gd name="T6" fmla="*/ 1 w 558"/>
                  <a:gd name="T7" fmla="*/ 1 h 3174"/>
                  <a:gd name="T8" fmla="*/ 1 w 558"/>
                  <a:gd name="T9" fmla="*/ 1 h 3174"/>
                  <a:gd name="T10" fmla="*/ 1 w 558"/>
                  <a:gd name="T11" fmla="*/ 1 h 3174"/>
                  <a:gd name="T12" fmla="*/ 1 w 558"/>
                  <a:gd name="T13" fmla="*/ 1 h 3174"/>
                  <a:gd name="T14" fmla="*/ 1 w 558"/>
                  <a:gd name="T15" fmla="*/ 1 h 3174"/>
                  <a:gd name="T16" fmla="*/ 1 w 558"/>
                  <a:gd name="T17" fmla="*/ 1 h 3174"/>
                  <a:gd name="T18" fmla="*/ 1 w 558"/>
                  <a:gd name="T19" fmla="*/ 1 h 3174"/>
                  <a:gd name="T20" fmla="*/ 1 w 558"/>
                  <a:gd name="T21" fmla="*/ 1 h 3174"/>
                  <a:gd name="T22" fmla="*/ 1 w 558"/>
                  <a:gd name="T23" fmla="*/ 1 h 3174"/>
                  <a:gd name="T24" fmla="*/ 1 w 558"/>
                  <a:gd name="T25" fmla="*/ 1 h 3174"/>
                  <a:gd name="T26" fmla="*/ 1 w 558"/>
                  <a:gd name="T27" fmla="*/ 1 h 3174"/>
                  <a:gd name="T28" fmla="*/ 1 w 558"/>
                  <a:gd name="T29" fmla="*/ 0 h 317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58"/>
                  <a:gd name="T46" fmla="*/ 0 h 3174"/>
                  <a:gd name="T47" fmla="*/ 558 w 558"/>
                  <a:gd name="T48" fmla="*/ 3174 h 317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58" h="3174">
                    <a:moveTo>
                      <a:pt x="0" y="3174"/>
                    </a:moveTo>
                    <a:cubicBezTo>
                      <a:pt x="16" y="3160"/>
                      <a:pt x="41" y="3114"/>
                      <a:pt x="95" y="3090"/>
                    </a:cubicBezTo>
                    <a:cubicBezTo>
                      <a:pt x="149" y="3066"/>
                      <a:pt x="254" y="3050"/>
                      <a:pt x="326" y="3027"/>
                    </a:cubicBezTo>
                    <a:cubicBezTo>
                      <a:pt x="398" y="3004"/>
                      <a:pt x="491" y="2965"/>
                      <a:pt x="528" y="2949"/>
                    </a:cubicBezTo>
                    <a:lnTo>
                      <a:pt x="546" y="2932"/>
                    </a:lnTo>
                    <a:lnTo>
                      <a:pt x="555" y="2910"/>
                    </a:lnTo>
                    <a:cubicBezTo>
                      <a:pt x="552" y="2814"/>
                      <a:pt x="534" y="2575"/>
                      <a:pt x="525" y="2355"/>
                    </a:cubicBezTo>
                    <a:cubicBezTo>
                      <a:pt x="516" y="2135"/>
                      <a:pt x="505" y="1834"/>
                      <a:pt x="503" y="1591"/>
                    </a:cubicBezTo>
                    <a:cubicBezTo>
                      <a:pt x="501" y="1348"/>
                      <a:pt x="506" y="1114"/>
                      <a:pt x="515" y="897"/>
                    </a:cubicBezTo>
                    <a:cubicBezTo>
                      <a:pt x="524" y="680"/>
                      <a:pt x="552" y="394"/>
                      <a:pt x="558" y="289"/>
                    </a:cubicBezTo>
                    <a:lnTo>
                      <a:pt x="552" y="264"/>
                    </a:lnTo>
                    <a:lnTo>
                      <a:pt x="530" y="244"/>
                    </a:lnTo>
                    <a:cubicBezTo>
                      <a:pt x="494" y="227"/>
                      <a:pt x="411" y="188"/>
                      <a:pt x="338" y="162"/>
                    </a:cubicBezTo>
                    <a:cubicBezTo>
                      <a:pt x="265" y="136"/>
                      <a:pt x="149" y="113"/>
                      <a:pt x="93" y="86"/>
                    </a:cubicBezTo>
                    <a:cubicBezTo>
                      <a:pt x="37" y="59"/>
                      <a:pt x="21" y="18"/>
                      <a:pt x="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3" name="Freeform 33"/>
              <p:cNvSpPr>
                <a:spLocks noChangeAspect="1"/>
              </p:cNvSpPr>
              <p:nvPr/>
            </p:nvSpPr>
            <p:spPr bwMode="auto">
              <a:xfrm>
                <a:off x="5580" y="1493"/>
                <a:ext cx="51" cy="886"/>
              </a:xfrm>
              <a:custGeom>
                <a:avLst/>
                <a:gdLst>
                  <a:gd name="T0" fmla="*/ 2 w 44"/>
                  <a:gd name="T1" fmla="*/ 0 h 760"/>
                  <a:gd name="T2" fmla="*/ 24590 w 44"/>
                  <a:gd name="T3" fmla="*/ 155606 h 760"/>
                  <a:gd name="T4" fmla="*/ 39599 w 44"/>
                  <a:gd name="T5" fmla="*/ 423887 h 760"/>
                  <a:gd name="T6" fmla="*/ 27766 w 44"/>
                  <a:gd name="T7" fmla="*/ 670795 h 760"/>
                  <a:gd name="T8" fmla="*/ 0 w 44"/>
                  <a:gd name="T9" fmla="*/ 881816 h 7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4"/>
                  <a:gd name="T16" fmla="*/ 0 h 760"/>
                  <a:gd name="T17" fmla="*/ 44 w 44"/>
                  <a:gd name="T18" fmla="*/ 760 h 76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4" h="760">
                    <a:moveTo>
                      <a:pt x="2" y="0"/>
                    </a:moveTo>
                    <a:cubicBezTo>
                      <a:pt x="6" y="22"/>
                      <a:pt x="21" y="74"/>
                      <a:pt x="28" y="135"/>
                    </a:cubicBezTo>
                    <a:cubicBezTo>
                      <a:pt x="35" y="196"/>
                      <a:pt x="44" y="291"/>
                      <a:pt x="44" y="365"/>
                    </a:cubicBezTo>
                    <a:cubicBezTo>
                      <a:pt x="44" y="439"/>
                      <a:pt x="37" y="512"/>
                      <a:pt x="30" y="578"/>
                    </a:cubicBezTo>
                    <a:cubicBezTo>
                      <a:pt x="23" y="644"/>
                      <a:pt x="6" y="722"/>
                      <a:pt x="0" y="76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4" name="Freeform 34"/>
              <p:cNvSpPr>
                <a:spLocks noChangeAspect="1"/>
              </p:cNvSpPr>
              <p:nvPr/>
            </p:nvSpPr>
            <p:spPr bwMode="auto">
              <a:xfrm>
                <a:off x="5603" y="1508"/>
                <a:ext cx="46" cy="857"/>
              </a:xfrm>
              <a:custGeom>
                <a:avLst/>
                <a:gdLst>
                  <a:gd name="T0" fmla="*/ 0 w 39"/>
                  <a:gd name="T1" fmla="*/ 0 h 735"/>
                  <a:gd name="T2" fmla="*/ 48143 w 39"/>
                  <a:gd name="T3" fmla="*/ 160952 h 735"/>
                  <a:gd name="T4" fmla="*/ 76892 w 39"/>
                  <a:gd name="T5" fmla="*/ 414481 h 735"/>
                  <a:gd name="T6" fmla="*/ 55271 w 39"/>
                  <a:gd name="T7" fmla="*/ 663207 h 735"/>
                  <a:gd name="T8" fmla="*/ 1 w 39"/>
                  <a:gd name="T9" fmla="*/ 858657 h 7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9"/>
                  <a:gd name="T16" fmla="*/ 0 h 735"/>
                  <a:gd name="T17" fmla="*/ 39 w 39"/>
                  <a:gd name="T18" fmla="*/ 735 h 73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9" h="735">
                    <a:moveTo>
                      <a:pt x="0" y="0"/>
                    </a:moveTo>
                    <a:cubicBezTo>
                      <a:pt x="4" y="23"/>
                      <a:pt x="19" y="79"/>
                      <a:pt x="25" y="138"/>
                    </a:cubicBezTo>
                    <a:cubicBezTo>
                      <a:pt x="31" y="197"/>
                      <a:pt x="39" y="283"/>
                      <a:pt x="39" y="354"/>
                    </a:cubicBezTo>
                    <a:cubicBezTo>
                      <a:pt x="39" y="425"/>
                      <a:pt x="34" y="504"/>
                      <a:pt x="28" y="567"/>
                    </a:cubicBezTo>
                    <a:cubicBezTo>
                      <a:pt x="22" y="630"/>
                      <a:pt x="7" y="700"/>
                      <a:pt x="1" y="73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5" name="Freeform 35"/>
              <p:cNvSpPr>
                <a:spLocks noChangeAspect="1"/>
              </p:cNvSpPr>
              <p:nvPr/>
            </p:nvSpPr>
            <p:spPr bwMode="auto">
              <a:xfrm>
                <a:off x="3395" y="999"/>
                <a:ext cx="1116" cy="1884"/>
              </a:xfrm>
              <a:custGeom>
                <a:avLst/>
                <a:gdLst>
                  <a:gd name="T0" fmla="*/ 1 w 1875"/>
                  <a:gd name="T1" fmla="*/ 1 h 3187"/>
                  <a:gd name="T2" fmla="*/ 1 w 1875"/>
                  <a:gd name="T3" fmla="*/ 1 h 3187"/>
                  <a:gd name="T4" fmla="*/ 1 w 1875"/>
                  <a:gd name="T5" fmla="*/ 1 h 3187"/>
                  <a:gd name="T6" fmla="*/ 1 w 1875"/>
                  <a:gd name="T7" fmla="*/ 1 h 3187"/>
                  <a:gd name="T8" fmla="*/ 1 w 1875"/>
                  <a:gd name="T9" fmla="*/ 1 h 3187"/>
                  <a:gd name="T10" fmla="*/ 1 w 1875"/>
                  <a:gd name="T11" fmla="*/ 1 h 3187"/>
                  <a:gd name="T12" fmla="*/ 1 w 1875"/>
                  <a:gd name="T13" fmla="*/ 1 h 3187"/>
                  <a:gd name="T14" fmla="*/ 1 w 1875"/>
                  <a:gd name="T15" fmla="*/ 1 h 3187"/>
                  <a:gd name="T16" fmla="*/ 1 w 1875"/>
                  <a:gd name="T17" fmla="*/ 1 h 3187"/>
                  <a:gd name="T18" fmla="*/ 1 w 1875"/>
                  <a:gd name="T19" fmla="*/ 1 h 3187"/>
                  <a:gd name="T20" fmla="*/ 1 w 1875"/>
                  <a:gd name="T21" fmla="*/ 1 h 3187"/>
                  <a:gd name="T22" fmla="*/ 1 w 1875"/>
                  <a:gd name="T23" fmla="*/ 1 h 3187"/>
                  <a:gd name="T24" fmla="*/ 1 w 1875"/>
                  <a:gd name="T25" fmla="*/ 1 h 3187"/>
                  <a:gd name="T26" fmla="*/ 1 w 1875"/>
                  <a:gd name="T27" fmla="*/ 1 h 3187"/>
                  <a:gd name="T28" fmla="*/ 1 w 1875"/>
                  <a:gd name="T29" fmla="*/ 1 h 3187"/>
                  <a:gd name="T30" fmla="*/ 1 w 1875"/>
                  <a:gd name="T31" fmla="*/ 1 h 3187"/>
                  <a:gd name="T32" fmla="*/ 1 w 1875"/>
                  <a:gd name="T33" fmla="*/ 1 h 3187"/>
                  <a:gd name="T34" fmla="*/ 1 w 1875"/>
                  <a:gd name="T35" fmla="*/ 1 h 3187"/>
                  <a:gd name="T36" fmla="*/ 1 w 1875"/>
                  <a:gd name="T37" fmla="*/ 1 h 3187"/>
                  <a:gd name="T38" fmla="*/ 1 w 1875"/>
                  <a:gd name="T39" fmla="*/ 1 h 3187"/>
                  <a:gd name="T40" fmla="*/ 1 w 1875"/>
                  <a:gd name="T41" fmla="*/ 1 h 3187"/>
                  <a:gd name="T42" fmla="*/ 1 w 1875"/>
                  <a:gd name="T43" fmla="*/ 1 h 3187"/>
                  <a:gd name="T44" fmla="*/ 1 w 1875"/>
                  <a:gd name="T45" fmla="*/ 1 h 3187"/>
                  <a:gd name="T46" fmla="*/ 1 w 1875"/>
                  <a:gd name="T47" fmla="*/ 1 h 3187"/>
                  <a:gd name="T48" fmla="*/ 1 w 1875"/>
                  <a:gd name="T49" fmla="*/ 1 h 31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875"/>
                  <a:gd name="T76" fmla="*/ 0 h 3187"/>
                  <a:gd name="T77" fmla="*/ 1875 w 1875"/>
                  <a:gd name="T78" fmla="*/ 3187 h 318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875" h="3187">
                    <a:moveTo>
                      <a:pt x="157" y="1535"/>
                    </a:moveTo>
                    <a:cubicBezTo>
                      <a:pt x="160" y="1666"/>
                      <a:pt x="147" y="1762"/>
                      <a:pt x="138" y="1887"/>
                    </a:cubicBezTo>
                    <a:cubicBezTo>
                      <a:pt x="129" y="2012"/>
                      <a:pt x="116" y="2177"/>
                      <a:pt x="104" y="2285"/>
                    </a:cubicBezTo>
                    <a:cubicBezTo>
                      <a:pt x="92" y="2393"/>
                      <a:pt x="81" y="2443"/>
                      <a:pt x="64" y="2538"/>
                    </a:cubicBezTo>
                    <a:cubicBezTo>
                      <a:pt x="47" y="2633"/>
                      <a:pt x="2" y="2779"/>
                      <a:pt x="1" y="2853"/>
                    </a:cubicBezTo>
                    <a:cubicBezTo>
                      <a:pt x="0" y="2927"/>
                      <a:pt x="25" y="2954"/>
                      <a:pt x="60" y="2985"/>
                    </a:cubicBezTo>
                    <a:cubicBezTo>
                      <a:pt x="95" y="3016"/>
                      <a:pt x="124" y="3020"/>
                      <a:pt x="214" y="3041"/>
                    </a:cubicBezTo>
                    <a:cubicBezTo>
                      <a:pt x="304" y="3062"/>
                      <a:pt x="430" y="3087"/>
                      <a:pt x="603" y="3110"/>
                    </a:cubicBezTo>
                    <a:cubicBezTo>
                      <a:pt x="776" y="3133"/>
                      <a:pt x="1093" y="3187"/>
                      <a:pt x="1251" y="3180"/>
                    </a:cubicBezTo>
                    <a:cubicBezTo>
                      <a:pt x="1409" y="3173"/>
                      <a:pt x="1474" y="3147"/>
                      <a:pt x="1551" y="3066"/>
                    </a:cubicBezTo>
                    <a:cubicBezTo>
                      <a:pt x="1628" y="2985"/>
                      <a:pt x="1667" y="2847"/>
                      <a:pt x="1714" y="2693"/>
                    </a:cubicBezTo>
                    <a:cubicBezTo>
                      <a:pt x="1761" y="2539"/>
                      <a:pt x="1803" y="2329"/>
                      <a:pt x="1830" y="2144"/>
                    </a:cubicBezTo>
                    <a:cubicBezTo>
                      <a:pt x="1857" y="1959"/>
                      <a:pt x="1875" y="1772"/>
                      <a:pt x="1875" y="1580"/>
                    </a:cubicBezTo>
                    <a:cubicBezTo>
                      <a:pt x="1875" y="1388"/>
                      <a:pt x="1855" y="1165"/>
                      <a:pt x="1832" y="994"/>
                    </a:cubicBezTo>
                    <a:cubicBezTo>
                      <a:pt x="1809" y="823"/>
                      <a:pt x="1778" y="694"/>
                      <a:pt x="1736" y="553"/>
                    </a:cubicBezTo>
                    <a:cubicBezTo>
                      <a:pt x="1694" y="412"/>
                      <a:pt x="1653" y="236"/>
                      <a:pt x="1578" y="146"/>
                    </a:cubicBezTo>
                    <a:cubicBezTo>
                      <a:pt x="1503" y="56"/>
                      <a:pt x="1444" y="22"/>
                      <a:pt x="1284" y="11"/>
                    </a:cubicBezTo>
                    <a:cubicBezTo>
                      <a:pt x="1124" y="0"/>
                      <a:pt x="799" y="56"/>
                      <a:pt x="615" y="81"/>
                    </a:cubicBezTo>
                    <a:cubicBezTo>
                      <a:pt x="431" y="106"/>
                      <a:pt x="274" y="134"/>
                      <a:pt x="180" y="159"/>
                    </a:cubicBezTo>
                    <a:cubicBezTo>
                      <a:pt x="86" y="184"/>
                      <a:pt x="76" y="199"/>
                      <a:pt x="49" y="230"/>
                    </a:cubicBezTo>
                    <a:cubicBezTo>
                      <a:pt x="22" y="261"/>
                      <a:pt x="14" y="289"/>
                      <a:pt x="15" y="344"/>
                    </a:cubicBezTo>
                    <a:cubicBezTo>
                      <a:pt x="16" y="399"/>
                      <a:pt x="38" y="474"/>
                      <a:pt x="54" y="560"/>
                    </a:cubicBezTo>
                    <a:cubicBezTo>
                      <a:pt x="70" y="646"/>
                      <a:pt x="93" y="751"/>
                      <a:pt x="108" y="858"/>
                    </a:cubicBezTo>
                    <a:cubicBezTo>
                      <a:pt x="123" y="965"/>
                      <a:pt x="133" y="1092"/>
                      <a:pt x="141" y="1205"/>
                    </a:cubicBezTo>
                    <a:cubicBezTo>
                      <a:pt x="149" y="1318"/>
                      <a:pt x="154" y="1466"/>
                      <a:pt x="157" y="153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6" name="Freeform 36"/>
              <p:cNvSpPr>
                <a:spLocks noChangeAspect="1"/>
              </p:cNvSpPr>
              <p:nvPr/>
            </p:nvSpPr>
            <p:spPr bwMode="auto">
              <a:xfrm>
                <a:off x="204" y="1260"/>
                <a:ext cx="79" cy="1358"/>
              </a:xfrm>
              <a:custGeom>
                <a:avLst/>
                <a:gdLst>
                  <a:gd name="T0" fmla="*/ 1 w 132"/>
                  <a:gd name="T1" fmla="*/ 1 h 2324"/>
                  <a:gd name="T2" fmla="*/ 1 w 132"/>
                  <a:gd name="T3" fmla="*/ 1 h 2324"/>
                  <a:gd name="T4" fmla="*/ 0 w 132"/>
                  <a:gd name="T5" fmla="*/ 1 h 2324"/>
                  <a:gd name="T6" fmla="*/ 1 w 132"/>
                  <a:gd name="T7" fmla="*/ 1 h 2324"/>
                  <a:gd name="T8" fmla="*/ 1 w 132"/>
                  <a:gd name="T9" fmla="*/ 0 h 23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2"/>
                  <a:gd name="T16" fmla="*/ 0 h 2324"/>
                  <a:gd name="T17" fmla="*/ 132 w 132"/>
                  <a:gd name="T18" fmla="*/ 2324 h 23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2" h="2324">
                    <a:moveTo>
                      <a:pt x="132" y="2324"/>
                    </a:moveTo>
                    <a:cubicBezTo>
                      <a:pt x="115" y="2233"/>
                      <a:pt x="54" y="1968"/>
                      <a:pt x="32" y="1776"/>
                    </a:cubicBezTo>
                    <a:cubicBezTo>
                      <a:pt x="10" y="1584"/>
                      <a:pt x="0" y="1381"/>
                      <a:pt x="0" y="1172"/>
                    </a:cubicBezTo>
                    <a:cubicBezTo>
                      <a:pt x="0" y="963"/>
                      <a:pt x="10" y="719"/>
                      <a:pt x="32" y="524"/>
                    </a:cubicBezTo>
                    <a:cubicBezTo>
                      <a:pt x="54" y="329"/>
                      <a:pt x="111" y="109"/>
                      <a:pt x="13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7" name="Freeform 37"/>
              <p:cNvSpPr>
                <a:spLocks noChangeAspect="1"/>
              </p:cNvSpPr>
              <p:nvPr/>
            </p:nvSpPr>
            <p:spPr bwMode="auto">
              <a:xfrm>
                <a:off x="454" y="1687"/>
                <a:ext cx="48" cy="502"/>
              </a:xfrm>
              <a:custGeom>
                <a:avLst/>
                <a:gdLst>
                  <a:gd name="T0" fmla="*/ 0 w 80"/>
                  <a:gd name="T1" fmla="*/ 1 h 876"/>
                  <a:gd name="T2" fmla="*/ 1 w 80"/>
                  <a:gd name="T3" fmla="*/ 1 h 876"/>
                  <a:gd name="T4" fmla="*/ 1 w 80"/>
                  <a:gd name="T5" fmla="*/ 1 h 876"/>
                  <a:gd name="T6" fmla="*/ 1 w 80"/>
                  <a:gd name="T7" fmla="*/ 0 h 87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0"/>
                  <a:gd name="T13" fmla="*/ 0 h 876"/>
                  <a:gd name="T14" fmla="*/ 80 w 80"/>
                  <a:gd name="T15" fmla="*/ 876 h 87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0" h="876">
                    <a:moveTo>
                      <a:pt x="0" y="876"/>
                    </a:moveTo>
                    <a:lnTo>
                      <a:pt x="76" y="854"/>
                    </a:lnTo>
                    <a:lnTo>
                      <a:pt x="80" y="22"/>
                    </a:lnTo>
                    <a:lnTo>
                      <a:pt x="2" y="0"/>
                    </a:ln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8" name="Freeform 38"/>
              <p:cNvSpPr>
                <a:spLocks noChangeAspect="1"/>
              </p:cNvSpPr>
              <p:nvPr/>
            </p:nvSpPr>
            <p:spPr bwMode="auto">
              <a:xfrm>
                <a:off x="756" y="240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29" name="Freeform 39"/>
              <p:cNvSpPr>
                <a:spLocks noChangeAspect="1"/>
              </p:cNvSpPr>
              <p:nvPr/>
            </p:nvSpPr>
            <p:spPr bwMode="auto">
              <a:xfrm>
                <a:off x="4411" y="2377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0" name="Freeform 40"/>
              <p:cNvSpPr>
                <a:spLocks noChangeAspect="1"/>
              </p:cNvSpPr>
              <p:nvPr/>
            </p:nvSpPr>
            <p:spPr bwMode="auto">
              <a:xfrm>
                <a:off x="4229" y="2868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1" name="Freeform 41"/>
              <p:cNvSpPr>
                <a:spLocks noChangeAspect="1"/>
              </p:cNvSpPr>
              <p:nvPr/>
            </p:nvSpPr>
            <p:spPr bwMode="auto">
              <a:xfrm>
                <a:off x="5001" y="2523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2" name="Freeform 42"/>
              <p:cNvSpPr>
                <a:spLocks noChangeAspect="1"/>
              </p:cNvSpPr>
              <p:nvPr/>
            </p:nvSpPr>
            <p:spPr bwMode="auto">
              <a:xfrm>
                <a:off x="4973" y="2379"/>
                <a:ext cx="617" cy="657"/>
              </a:xfrm>
              <a:custGeom>
                <a:avLst/>
                <a:gdLst>
                  <a:gd name="T0" fmla="*/ 1 w 1038"/>
                  <a:gd name="T1" fmla="*/ 0 h 1102"/>
                  <a:gd name="T2" fmla="*/ 1 w 1038"/>
                  <a:gd name="T3" fmla="*/ 1 h 1102"/>
                  <a:gd name="T4" fmla="*/ 1 w 1038"/>
                  <a:gd name="T5" fmla="*/ 1 h 1102"/>
                  <a:gd name="T6" fmla="*/ 1 w 1038"/>
                  <a:gd name="T7" fmla="*/ 1 h 1102"/>
                  <a:gd name="T8" fmla="*/ 1 w 1038"/>
                  <a:gd name="T9" fmla="*/ 1 h 1102"/>
                  <a:gd name="T10" fmla="*/ 0 w 1038"/>
                  <a:gd name="T11" fmla="*/ 1 h 110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38"/>
                  <a:gd name="T19" fmla="*/ 0 h 1102"/>
                  <a:gd name="T20" fmla="*/ 1038 w 1038"/>
                  <a:gd name="T21" fmla="*/ 1102 h 110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38" h="1102">
                    <a:moveTo>
                      <a:pt x="1038" y="0"/>
                    </a:moveTo>
                    <a:cubicBezTo>
                      <a:pt x="1020" y="60"/>
                      <a:pt x="978" y="245"/>
                      <a:pt x="931" y="360"/>
                    </a:cubicBezTo>
                    <a:cubicBezTo>
                      <a:pt x="884" y="475"/>
                      <a:pt x="813" y="604"/>
                      <a:pt x="754" y="690"/>
                    </a:cubicBezTo>
                    <a:cubicBezTo>
                      <a:pt x="695" y="776"/>
                      <a:pt x="650" y="822"/>
                      <a:pt x="577" y="876"/>
                    </a:cubicBezTo>
                    <a:cubicBezTo>
                      <a:pt x="504" y="930"/>
                      <a:pt x="412" y="979"/>
                      <a:pt x="316" y="1017"/>
                    </a:cubicBezTo>
                    <a:cubicBezTo>
                      <a:pt x="220" y="1055"/>
                      <a:pt x="66" y="1084"/>
                      <a:pt x="0" y="110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3" name="Freeform 43"/>
              <p:cNvSpPr>
                <a:spLocks noChangeAspect="1"/>
              </p:cNvSpPr>
              <p:nvPr/>
            </p:nvSpPr>
            <p:spPr bwMode="auto">
              <a:xfrm>
                <a:off x="5028" y="252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4" name="Freeform 44"/>
              <p:cNvSpPr>
                <a:spLocks noChangeAspect="1"/>
              </p:cNvSpPr>
              <p:nvPr/>
            </p:nvSpPr>
            <p:spPr bwMode="auto">
              <a:xfrm>
                <a:off x="3863" y="2477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5" name="Freeform 45"/>
              <p:cNvSpPr>
                <a:spLocks noChangeAspect="1"/>
              </p:cNvSpPr>
              <p:nvPr/>
            </p:nvSpPr>
            <p:spPr bwMode="auto">
              <a:xfrm>
                <a:off x="1505" y="2791"/>
                <a:ext cx="2561" cy="257"/>
              </a:xfrm>
              <a:custGeom>
                <a:avLst/>
                <a:gdLst>
                  <a:gd name="T0" fmla="*/ 1 w 4303"/>
                  <a:gd name="T1" fmla="*/ 1 h 432"/>
                  <a:gd name="T2" fmla="*/ 1 w 4303"/>
                  <a:gd name="T3" fmla="*/ 1 h 432"/>
                  <a:gd name="T4" fmla="*/ 1 w 4303"/>
                  <a:gd name="T5" fmla="*/ 1 h 432"/>
                  <a:gd name="T6" fmla="*/ 1 w 4303"/>
                  <a:gd name="T7" fmla="*/ 1 h 432"/>
                  <a:gd name="T8" fmla="*/ 1 w 4303"/>
                  <a:gd name="T9" fmla="*/ 1 h 432"/>
                  <a:gd name="T10" fmla="*/ 1 w 4303"/>
                  <a:gd name="T11" fmla="*/ 1 h 432"/>
                  <a:gd name="T12" fmla="*/ 1 w 4303"/>
                  <a:gd name="T13" fmla="*/ 1 h 432"/>
                  <a:gd name="T14" fmla="*/ 1 w 4303"/>
                  <a:gd name="T15" fmla="*/ 1 h 432"/>
                  <a:gd name="T16" fmla="*/ 1 w 4303"/>
                  <a:gd name="T17" fmla="*/ 0 h 432"/>
                  <a:gd name="T18" fmla="*/ 1 w 4303"/>
                  <a:gd name="T19" fmla="*/ 1 h 432"/>
                  <a:gd name="T20" fmla="*/ 1 w 4303"/>
                  <a:gd name="T21" fmla="*/ 1 h 432"/>
                  <a:gd name="T22" fmla="*/ 0 w 4303"/>
                  <a:gd name="T23" fmla="*/ 1 h 432"/>
                  <a:gd name="T24" fmla="*/ 1 w 4303"/>
                  <a:gd name="T25" fmla="*/ 1 h 432"/>
                  <a:gd name="T26" fmla="*/ 1 w 4303"/>
                  <a:gd name="T27" fmla="*/ 1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3"/>
                  <a:gd name="T43" fmla="*/ 0 h 432"/>
                  <a:gd name="T44" fmla="*/ 4303 w 4303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3" h="432">
                    <a:moveTo>
                      <a:pt x="4293" y="416"/>
                    </a:moveTo>
                    <a:cubicBezTo>
                      <a:pt x="4293" y="398"/>
                      <a:pt x="4303" y="338"/>
                      <a:pt x="4292" y="310"/>
                    </a:cubicBezTo>
                    <a:cubicBezTo>
                      <a:pt x="4281" y="282"/>
                      <a:pt x="4268" y="265"/>
                      <a:pt x="4229" y="249"/>
                    </a:cubicBezTo>
                    <a:cubicBezTo>
                      <a:pt x="4190" y="233"/>
                      <a:pt x="4211" y="241"/>
                      <a:pt x="4055" y="215"/>
                    </a:cubicBezTo>
                    <a:cubicBezTo>
                      <a:pt x="3899" y="189"/>
                      <a:pt x="3516" y="123"/>
                      <a:pt x="3291" y="90"/>
                    </a:cubicBezTo>
                    <a:cubicBezTo>
                      <a:pt x="3066" y="57"/>
                      <a:pt x="2919" y="32"/>
                      <a:pt x="2703" y="18"/>
                    </a:cubicBezTo>
                    <a:cubicBezTo>
                      <a:pt x="2487" y="4"/>
                      <a:pt x="2366" y="6"/>
                      <a:pt x="1993" y="3"/>
                    </a:cubicBezTo>
                    <a:cubicBezTo>
                      <a:pt x="1620" y="0"/>
                      <a:pt x="756" y="2"/>
                      <a:pt x="465" y="2"/>
                    </a:cubicBezTo>
                    <a:lnTo>
                      <a:pt x="245" y="0"/>
                    </a:lnTo>
                    <a:cubicBezTo>
                      <a:pt x="197" y="7"/>
                      <a:pt x="213" y="2"/>
                      <a:pt x="174" y="44"/>
                    </a:cubicBezTo>
                    <a:cubicBezTo>
                      <a:pt x="135" y="86"/>
                      <a:pt x="38" y="213"/>
                      <a:pt x="9" y="252"/>
                    </a:cubicBezTo>
                    <a:lnTo>
                      <a:pt x="0" y="281"/>
                    </a:lnTo>
                    <a:cubicBezTo>
                      <a:pt x="1" y="297"/>
                      <a:pt x="4" y="325"/>
                      <a:pt x="12" y="350"/>
                    </a:cubicBezTo>
                    <a:cubicBezTo>
                      <a:pt x="20" y="375"/>
                      <a:pt x="41" y="415"/>
                      <a:pt x="48" y="43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6" name="Freeform 46"/>
              <p:cNvSpPr>
                <a:spLocks noChangeAspect="1"/>
              </p:cNvSpPr>
              <p:nvPr/>
            </p:nvSpPr>
            <p:spPr bwMode="auto">
              <a:xfrm>
                <a:off x="3878" y="2898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7" name="Freeform 47"/>
              <p:cNvSpPr>
                <a:spLocks noChangeAspect="1"/>
              </p:cNvSpPr>
              <p:nvPr/>
            </p:nvSpPr>
            <p:spPr bwMode="auto">
              <a:xfrm>
                <a:off x="2812" y="2812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8" name="Freeform 48"/>
              <p:cNvSpPr>
                <a:spLocks noChangeAspect="1"/>
              </p:cNvSpPr>
              <p:nvPr/>
            </p:nvSpPr>
            <p:spPr bwMode="auto">
              <a:xfrm>
                <a:off x="2669" y="2778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39" name="Freeform 49"/>
              <p:cNvSpPr>
                <a:spLocks noChangeAspect="1"/>
              </p:cNvSpPr>
              <p:nvPr/>
            </p:nvSpPr>
            <p:spPr bwMode="auto">
              <a:xfrm>
                <a:off x="717" y="2965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0" name="Freeform 50"/>
              <p:cNvSpPr>
                <a:spLocks noChangeAspect="1"/>
              </p:cNvSpPr>
              <p:nvPr/>
            </p:nvSpPr>
            <p:spPr bwMode="auto">
              <a:xfrm>
                <a:off x="1812" y="281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1" name="Freeform 51"/>
              <p:cNvSpPr>
                <a:spLocks noChangeAspect="1"/>
              </p:cNvSpPr>
              <p:nvPr/>
            </p:nvSpPr>
            <p:spPr bwMode="auto">
              <a:xfrm>
                <a:off x="519" y="2823"/>
                <a:ext cx="1585" cy="145"/>
              </a:xfrm>
              <a:custGeom>
                <a:avLst/>
                <a:gdLst>
                  <a:gd name="T0" fmla="*/ 1 w 2662"/>
                  <a:gd name="T1" fmla="*/ 1 h 244"/>
                  <a:gd name="T2" fmla="*/ 1 w 2662"/>
                  <a:gd name="T3" fmla="*/ 1 h 244"/>
                  <a:gd name="T4" fmla="*/ 1 w 2662"/>
                  <a:gd name="T5" fmla="*/ 1 h 244"/>
                  <a:gd name="T6" fmla="*/ 1 w 2662"/>
                  <a:gd name="T7" fmla="*/ 1 h 244"/>
                  <a:gd name="T8" fmla="*/ 1 w 2662"/>
                  <a:gd name="T9" fmla="*/ 1 h 244"/>
                  <a:gd name="T10" fmla="*/ 0 w 2662"/>
                  <a:gd name="T11" fmla="*/ 0 h 2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62"/>
                  <a:gd name="T19" fmla="*/ 0 h 244"/>
                  <a:gd name="T20" fmla="*/ 2662 w 2662"/>
                  <a:gd name="T21" fmla="*/ 244 h 24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62" h="244">
                    <a:moveTo>
                      <a:pt x="2662" y="244"/>
                    </a:moveTo>
                    <a:cubicBezTo>
                      <a:pt x="2559" y="241"/>
                      <a:pt x="2314" y="231"/>
                      <a:pt x="2042" y="228"/>
                    </a:cubicBezTo>
                    <a:cubicBezTo>
                      <a:pt x="1770" y="225"/>
                      <a:pt x="1303" y="239"/>
                      <a:pt x="1028" y="224"/>
                    </a:cubicBezTo>
                    <a:cubicBezTo>
                      <a:pt x="753" y="209"/>
                      <a:pt x="541" y="162"/>
                      <a:pt x="392" y="136"/>
                    </a:cubicBezTo>
                    <a:cubicBezTo>
                      <a:pt x="243" y="110"/>
                      <a:pt x="197" y="93"/>
                      <a:pt x="132" y="70"/>
                    </a:cubicBezTo>
                    <a:cubicBezTo>
                      <a:pt x="67" y="47"/>
                      <a:pt x="27" y="15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2" name="Freeform 52"/>
              <p:cNvSpPr>
                <a:spLocks noChangeAspect="1"/>
              </p:cNvSpPr>
              <p:nvPr/>
            </p:nvSpPr>
            <p:spPr bwMode="auto">
              <a:xfrm>
                <a:off x="1635" y="2811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3" name="Freeform 53"/>
              <p:cNvSpPr>
                <a:spLocks noChangeAspect="1"/>
              </p:cNvSpPr>
              <p:nvPr/>
            </p:nvSpPr>
            <p:spPr bwMode="auto">
              <a:xfrm>
                <a:off x="793" y="2794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4" name="Freeform 54"/>
              <p:cNvSpPr>
                <a:spLocks noChangeAspect="1"/>
              </p:cNvSpPr>
              <p:nvPr/>
            </p:nvSpPr>
            <p:spPr bwMode="auto">
              <a:xfrm>
                <a:off x="281" y="2619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5" name="Freeform 55"/>
              <p:cNvSpPr>
                <a:spLocks noChangeAspect="1"/>
              </p:cNvSpPr>
              <p:nvPr/>
            </p:nvSpPr>
            <p:spPr bwMode="auto">
              <a:xfrm>
                <a:off x="415" y="2890"/>
                <a:ext cx="88" cy="31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6" name="Freeform 56"/>
              <p:cNvSpPr>
                <a:spLocks noChangeAspect="1"/>
              </p:cNvSpPr>
              <p:nvPr/>
            </p:nvSpPr>
            <p:spPr bwMode="auto">
              <a:xfrm>
                <a:off x="222" y="2513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7" name="Freeform 57"/>
              <p:cNvSpPr>
                <a:spLocks noChangeAspect="1"/>
              </p:cNvSpPr>
              <p:nvPr/>
            </p:nvSpPr>
            <p:spPr bwMode="auto">
              <a:xfrm>
                <a:off x="200" y="2361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48" name="Freeform 58"/>
              <p:cNvSpPr>
                <a:spLocks noChangeAspect="1"/>
              </p:cNvSpPr>
              <p:nvPr/>
            </p:nvSpPr>
            <p:spPr bwMode="auto">
              <a:xfrm flipV="1">
                <a:off x="756" y="947"/>
                <a:ext cx="4760" cy="528"/>
              </a:xfrm>
              <a:custGeom>
                <a:avLst/>
                <a:gdLst>
                  <a:gd name="T0" fmla="*/ 1 w 8001"/>
                  <a:gd name="T1" fmla="*/ 0 h 887"/>
                  <a:gd name="T2" fmla="*/ 1 w 8001"/>
                  <a:gd name="T3" fmla="*/ 1 h 887"/>
                  <a:gd name="T4" fmla="*/ 1 w 8001"/>
                  <a:gd name="T5" fmla="*/ 1 h 887"/>
                  <a:gd name="T6" fmla="*/ 1 w 8001"/>
                  <a:gd name="T7" fmla="*/ 1 h 887"/>
                  <a:gd name="T8" fmla="*/ 1 w 8001"/>
                  <a:gd name="T9" fmla="*/ 1 h 887"/>
                  <a:gd name="T10" fmla="*/ 1 w 8001"/>
                  <a:gd name="T11" fmla="*/ 1 h 887"/>
                  <a:gd name="T12" fmla="*/ 1 w 8001"/>
                  <a:gd name="T13" fmla="*/ 1 h 887"/>
                  <a:gd name="T14" fmla="*/ 1 w 8001"/>
                  <a:gd name="T15" fmla="*/ 1 h 887"/>
                  <a:gd name="T16" fmla="*/ 1 w 8001"/>
                  <a:gd name="T17" fmla="*/ 1 h 887"/>
                  <a:gd name="T18" fmla="*/ 1 w 8001"/>
                  <a:gd name="T19" fmla="*/ 1 h 887"/>
                  <a:gd name="T20" fmla="*/ 1 w 8001"/>
                  <a:gd name="T21" fmla="*/ 1 h 887"/>
                  <a:gd name="T22" fmla="*/ 1 w 8001"/>
                  <a:gd name="T23" fmla="*/ 1 h 887"/>
                  <a:gd name="T24" fmla="*/ 0 w 8001"/>
                  <a:gd name="T25" fmla="*/ 1 h 88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01"/>
                  <a:gd name="T40" fmla="*/ 0 h 887"/>
                  <a:gd name="T41" fmla="*/ 8001 w 8001"/>
                  <a:gd name="T42" fmla="*/ 887 h 88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01" h="887">
                    <a:moveTo>
                      <a:pt x="8001" y="0"/>
                    </a:moveTo>
                    <a:cubicBezTo>
                      <a:pt x="7978" y="11"/>
                      <a:pt x="7950" y="28"/>
                      <a:pt x="7866" y="71"/>
                    </a:cubicBezTo>
                    <a:cubicBezTo>
                      <a:pt x="7782" y="114"/>
                      <a:pt x="7671" y="180"/>
                      <a:pt x="7496" y="258"/>
                    </a:cubicBezTo>
                    <a:cubicBezTo>
                      <a:pt x="7321" y="336"/>
                      <a:pt x="7085" y="439"/>
                      <a:pt x="6815" y="536"/>
                    </a:cubicBezTo>
                    <a:cubicBezTo>
                      <a:pt x="6545" y="633"/>
                      <a:pt x="6129" y="789"/>
                      <a:pt x="5879" y="838"/>
                    </a:cubicBezTo>
                    <a:cubicBezTo>
                      <a:pt x="5629" y="887"/>
                      <a:pt x="5499" y="842"/>
                      <a:pt x="5318" y="829"/>
                    </a:cubicBezTo>
                    <a:cubicBezTo>
                      <a:pt x="5137" y="816"/>
                      <a:pt x="4955" y="782"/>
                      <a:pt x="4790" y="757"/>
                    </a:cubicBezTo>
                    <a:cubicBezTo>
                      <a:pt x="4625" y="732"/>
                      <a:pt x="4510" y="701"/>
                      <a:pt x="4329" y="680"/>
                    </a:cubicBezTo>
                    <a:cubicBezTo>
                      <a:pt x="4148" y="659"/>
                      <a:pt x="4047" y="642"/>
                      <a:pt x="3705" y="632"/>
                    </a:cubicBezTo>
                    <a:cubicBezTo>
                      <a:pt x="3363" y="622"/>
                      <a:pt x="2701" y="626"/>
                      <a:pt x="2279" y="622"/>
                    </a:cubicBezTo>
                    <a:cubicBezTo>
                      <a:pt x="1857" y="618"/>
                      <a:pt x="1505" y="619"/>
                      <a:pt x="1175" y="608"/>
                    </a:cubicBezTo>
                    <a:cubicBezTo>
                      <a:pt x="845" y="597"/>
                      <a:pt x="493" y="567"/>
                      <a:pt x="297" y="555"/>
                    </a:cubicBezTo>
                    <a:cubicBezTo>
                      <a:pt x="101" y="543"/>
                      <a:pt x="62" y="540"/>
                      <a:pt x="0" y="53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49" name="Freeform 59"/>
              <p:cNvSpPr>
                <a:spLocks noChangeAspect="1"/>
              </p:cNvSpPr>
              <p:nvPr/>
            </p:nvSpPr>
            <p:spPr bwMode="auto">
              <a:xfrm flipV="1">
                <a:off x="4411" y="1015"/>
                <a:ext cx="1142" cy="490"/>
              </a:xfrm>
              <a:custGeom>
                <a:avLst/>
                <a:gdLst>
                  <a:gd name="T0" fmla="*/ 1 w 1920"/>
                  <a:gd name="T1" fmla="*/ 0 h 821"/>
                  <a:gd name="T2" fmla="*/ 1 w 1920"/>
                  <a:gd name="T3" fmla="*/ 1 h 821"/>
                  <a:gd name="T4" fmla="*/ 1 w 1920"/>
                  <a:gd name="T5" fmla="*/ 1 h 821"/>
                  <a:gd name="T6" fmla="*/ 1 w 1920"/>
                  <a:gd name="T7" fmla="*/ 1 h 821"/>
                  <a:gd name="T8" fmla="*/ 1 w 1920"/>
                  <a:gd name="T9" fmla="*/ 1 h 821"/>
                  <a:gd name="T10" fmla="*/ 1 w 1920"/>
                  <a:gd name="T11" fmla="*/ 1 h 821"/>
                  <a:gd name="T12" fmla="*/ 1 w 1920"/>
                  <a:gd name="T13" fmla="*/ 1 h 821"/>
                  <a:gd name="T14" fmla="*/ 0 w 1920"/>
                  <a:gd name="T15" fmla="*/ 1 h 8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20"/>
                  <a:gd name="T25" fmla="*/ 0 h 821"/>
                  <a:gd name="T26" fmla="*/ 1920 w 1920"/>
                  <a:gd name="T27" fmla="*/ 821 h 8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20" h="821">
                    <a:moveTo>
                      <a:pt x="1920" y="0"/>
                    </a:moveTo>
                    <a:cubicBezTo>
                      <a:pt x="1908" y="10"/>
                      <a:pt x="1876" y="35"/>
                      <a:pt x="1846" y="59"/>
                    </a:cubicBezTo>
                    <a:cubicBezTo>
                      <a:pt x="1816" y="83"/>
                      <a:pt x="1772" y="120"/>
                      <a:pt x="1740" y="145"/>
                    </a:cubicBezTo>
                    <a:cubicBezTo>
                      <a:pt x="1708" y="170"/>
                      <a:pt x="1711" y="174"/>
                      <a:pt x="1653" y="208"/>
                    </a:cubicBezTo>
                    <a:cubicBezTo>
                      <a:pt x="1595" y="242"/>
                      <a:pt x="1508" y="293"/>
                      <a:pt x="1390" y="347"/>
                    </a:cubicBezTo>
                    <a:cubicBezTo>
                      <a:pt x="1272" y="401"/>
                      <a:pt x="1109" y="471"/>
                      <a:pt x="946" y="533"/>
                    </a:cubicBezTo>
                    <a:cubicBezTo>
                      <a:pt x="783" y="595"/>
                      <a:pt x="571" y="672"/>
                      <a:pt x="413" y="720"/>
                    </a:cubicBezTo>
                    <a:cubicBezTo>
                      <a:pt x="255" y="768"/>
                      <a:pt x="86" y="800"/>
                      <a:pt x="0" y="82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0" name="Freeform 60"/>
              <p:cNvSpPr>
                <a:spLocks noChangeAspect="1"/>
              </p:cNvSpPr>
              <p:nvPr/>
            </p:nvSpPr>
            <p:spPr bwMode="auto">
              <a:xfrm flipV="1">
                <a:off x="4229" y="937"/>
                <a:ext cx="938" cy="77"/>
              </a:xfrm>
              <a:custGeom>
                <a:avLst/>
                <a:gdLst>
                  <a:gd name="T0" fmla="*/ 0 w 1578"/>
                  <a:gd name="T1" fmla="*/ 0 h 130"/>
                  <a:gd name="T2" fmla="*/ 1 w 1578"/>
                  <a:gd name="T3" fmla="*/ 1 h 130"/>
                  <a:gd name="T4" fmla="*/ 1 w 1578"/>
                  <a:gd name="T5" fmla="*/ 1 h 130"/>
                  <a:gd name="T6" fmla="*/ 1 w 1578"/>
                  <a:gd name="T7" fmla="*/ 1 h 130"/>
                  <a:gd name="T8" fmla="*/ 1 w 1578"/>
                  <a:gd name="T9" fmla="*/ 1 h 130"/>
                  <a:gd name="T10" fmla="*/ 1 w 1578"/>
                  <a:gd name="T11" fmla="*/ 1 h 130"/>
                  <a:gd name="T12" fmla="*/ 1 w 1578"/>
                  <a:gd name="T13" fmla="*/ 1 h 13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78"/>
                  <a:gd name="T22" fmla="*/ 0 h 130"/>
                  <a:gd name="T23" fmla="*/ 1578 w 1578"/>
                  <a:gd name="T24" fmla="*/ 130 h 13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78" h="130">
                    <a:moveTo>
                      <a:pt x="0" y="0"/>
                    </a:moveTo>
                    <a:cubicBezTo>
                      <a:pt x="8" y="14"/>
                      <a:pt x="12" y="64"/>
                      <a:pt x="46" y="84"/>
                    </a:cubicBezTo>
                    <a:cubicBezTo>
                      <a:pt x="80" y="104"/>
                      <a:pt x="97" y="114"/>
                      <a:pt x="205" y="121"/>
                    </a:cubicBezTo>
                    <a:cubicBezTo>
                      <a:pt x="313" y="128"/>
                      <a:pt x="532" y="130"/>
                      <a:pt x="695" y="128"/>
                    </a:cubicBezTo>
                    <a:cubicBezTo>
                      <a:pt x="858" y="126"/>
                      <a:pt x="1067" y="118"/>
                      <a:pt x="1185" y="108"/>
                    </a:cubicBezTo>
                    <a:cubicBezTo>
                      <a:pt x="1303" y="98"/>
                      <a:pt x="1336" y="72"/>
                      <a:pt x="1401" y="65"/>
                    </a:cubicBezTo>
                    <a:cubicBezTo>
                      <a:pt x="1466" y="58"/>
                      <a:pt x="1541" y="65"/>
                      <a:pt x="1578" y="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1" name="Freeform 61"/>
              <p:cNvSpPr>
                <a:spLocks noChangeAspect="1"/>
              </p:cNvSpPr>
              <p:nvPr/>
            </p:nvSpPr>
            <p:spPr bwMode="auto">
              <a:xfrm flipV="1">
                <a:off x="5001" y="884"/>
                <a:ext cx="517" cy="475"/>
              </a:xfrm>
              <a:custGeom>
                <a:avLst/>
                <a:gdLst>
                  <a:gd name="T0" fmla="*/ 0 w 871"/>
                  <a:gd name="T1" fmla="*/ 1 h 798"/>
                  <a:gd name="T2" fmla="*/ 1 w 871"/>
                  <a:gd name="T3" fmla="*/ 1 h 798"/>
                  <a:gd name="T4" fmla="*/ 1 w 871"/>
                  <a:gd name="T5" fmla="*/ 1 h 798"/>
                  <a:gd name="T6" fmla="*/ 1 w 871"/>
                  <a:gd name="T7" fmla="*/ 1 h 798"/>
                  <a:gd name="T8" fmla="*/ 1 w 871"/>
                  <a:gd name="T9" fmla="*/ 1 h 798"/>
                  <a:gd name="T10" fmla="*/ 1 w 871"/>
                  <a:gd name="T11" fmla="*/ 1 h 798"/>
                  <a:gd name="T12" fmla="*/ 1 w 871"/>
                  <a:gd name="T13" fmla="*/ 1 h 798"/>
                  <a:gd name="T14" fmla="*/ 1 w 871"/>
                  <a:gd name="T15" fmla="*/ 1 h 798"/>
                  <a:gd name="T16" fmla="*/ 1 w 871"/>
                  <a:gd name="T17" fmla="*/ 0 h 798"/>
                  <a:gd name="T18" fmla="*/ 1 w 871"/>
                  <a:gd name="T19" fmla="*/ 1 h 798"/>
                  <a:gd name="T20" fmla="*/ 1 w 871"/>
                  <a:gd name="T21" fmla="*/ 1 h 798"/>
                  <a:gd name="T22" fmla="*/ 1 w 871"/>
                  <a:gd name="T23" fmla="*/ 1 h 798"/>
                  <a:gd name="T24" fmla="*/ 1 w 871"/>
                  <a:gd name="T25" fmla="*/ 1 h 798"/>
                  <a:gd name="T26" fmla="*/ 1 w 871"/>
                  <a:gd name="T27" fmla="*/ 1 h 798"/>
                  <a:gd name="T28" fmla="*/ 1 w 871"/>
                  <a:gd name="T29" fmla="*/ 1 h 798"/>
                  <a:gd name="T30" fmla="*/ 1 w 871"/>
                  <a:gd name="T31" fmla="*/ 1 h 798"/>
                  <a:gd name="T32" fmla="*/ 1 w 871"/>
                  <a:gd name="T33" fmla="*/ 1 h 798"/>
                  <a:gd name="T34" fmla="*/ 1 w 871"/>
                  <a:gd name="T35" fmla="*/ 1 h 798"/>
                  <a:gd name="T36" fmla="*/ 0 w 871"/>
                  <a:gd name="T37" fmla="*/ 1 h 79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871"/>
                  <a:gd name="T58" fmla="*/ 0 h 798"/>
                  <a:gd name="T59" fmla="*/ 871 w 871"/>
                  <a:gd name="T60" fmla="*/ 798 h 79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871" h="798">
                    <a:moveTo>
                      <a:pt x="0" y="782"/>
                    </a:moveTo>
                    <a:lnTo>
                      <a:pt x="6" y="768"/>
                    </a:lnTo>
                    <a:cubicBezTo>
                      <a:pt x="44" y="750"/>
                      <a:pt x="160" y="712"/>
                      <a:pt x="231" y="674"/>
                    </a:cubicBezTo>
                    <a:cubicBezTo>
                      <a:pt x="302" y="636"/>
                      <a:pt x="369" y="597"/>
                      <a:pt x="430" y="542"/>
                    </a:cubicBezTo>
                    <a:cubicBezTo>
                      <a:pt x="491" y="487"/>
                      <a:pt x="549" y="415"/>
                      <a:pt x="598" y="346"/>
                    </a:cubicBezTo>
                    <a:cubicBezTo>
                      <a:pt x="647" y="277"/>
                      <a:pt x="694" y="181"/>
                      <a:pt x="726" y="126"/>
                    </a:cubicBezTo>
                    <a:cubicBezTo>
                      <a:pt x="758" y="71"/>
                      <a:pt x="777" y="36"/>
                      <a:pt x="791" y="17"/>
                    </a:cubicBezTo>
                    <a:lnTo>
                      <a:pt x="809" y="9"/>
                    </a:lnTo>
                    <a:cubicBezTo>
                      <a:pt x="817" y="6"/>
                      <a:pt x="831" y="0"/>
                      <a:pt x="840" y="0"/>
                    </a:cubicBezTo>
                    <a:cubicBezTo>
                      <a:pt x="849" y="0"/>
                      <a:pt x="861" y="2"/>
                      <a:pt x="866" y="6"/>
                    </a:cubicBezTo>
                    <a:cubicBezTo>
                      <a:pt x="871" y="10"/>
                      <a:pt x="869" y="17"/>
                      <a:pt x="870" y="23"/>
                    </a:cubicBezTo>
                    <a:lnTo>
                      <a:pt x="870" y="41"/>
                    </a:lnTo>
                    <a:cubicBezTo>
                      <a:pt x="848" y="94"/>
                      <a:pt x="788" y="250"/>
                      <a:pt x="737" y="338"/>
                    </a:cubicBezTo>
                    <a:cubicBezTo>
                      <a:pt x="686" y="426"/>
                      <a:pt x="633" y="504"/>
                      <a:pt x="563" y="570"/>
                    </a:cubicBezTo>
                    <a:cubicBezTo>
                      <a:pt x="493" y="636"/>
                      <a:pt x="397" y="693"/>
                      <a:pt x="318" y="731"/>
                    </a:cubicBezTo>
                    <a:cubicBezTo>
                      <a:pt x="239" y="769"/>
                      <a:pt x="128" y="786"/>
                      <a:pt x="86" y="797"/>
                    </a:cubicBezTo>
                    <a:lnTo>
                      <a:pt x="66" y="798"/>
                    </a:lnTo>
                    <a:cubicBezTo>
                      <a:pt x="56" y="797"/>
                      <a:pt x="34" y="795"/>
                      <a:pt x="23" y="792"/>
                    </a:cubicBezTo>
                    <a:cubicBezTo>
                      <a:pt x="12" y="789"/>
                      <a:pt x="5" y="784"/>
                      <a:pt x="0" y="782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FFFF"/>
                  </a:gs>
                  <a:gs pos="100000">
                    <a:srgbClr val="EAEAEA"/>
                  </a:gs>
                </a:gsLst>
                <a:path path="rect">
                  <a:fillToRect l="50000" t="50000" r="50000" b="50000"/>
                </a:path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2" name="Freeform 62"/>
              <p:cNvSpPr>
                <a:spLocks noChangeAspect="1"/>
              </p:cNvSpPr>
              <p:nvPr/>
            </p:nvSpPr>
            <p:spPr bwMode="auto">
              <a:xfrm>
                <a:off x="4973" y="845"/>
                <a:ext cx="616" cy="651"/>
              </a:xfrm>
              <a:custGeom>
                <a:avLst/>
                <a:gdLst>
                  <a:gd name="T0" fmla="*/ 581776 w 529"/>
                  <a:gd name="T1" fmla="*/ 669570 h 558"/>
                  <a:gd name="T2" fmla="*/ 523085 w 529"/>
                  <a:gd name="T3" fmla="*/ 455208 h 558"/>
                  <a:gd name="T4" fmla="*/ 423919 w 529"/>
                  <a:gd name="T5" fmla="*/ 252685 h 558"/>
                  <a:gd name="T6" fmla="*/ 325279 w 529"/>
                  <a:gd name="T7" fmla="*/ 137059 h 558"/>
                  <a:gd name="T8" fmla="*/ 177637 w 529"/>
                  <a:gd name="T9" fmla="*/ 50786 h 558"/>
                  <a:gd name="T10" fmla="*/ 0 w 529"/>
                  <a:gd name="T11" fmla="*/ 0 h 55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29"/>
                  <a:gd name="T19" fmla="*/ 0 h 558"/>
                  <a:gd name="T20" fmla="*/ 529 w 529"/>
                  <a:gd name="T21" fmla="*/ 558 h 55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29" h="558">
                    <a:moveTo>
                      <a:pt x="529" y="558"/>
                    </a:moveTo>
                    <a:cubicBezTo>
                      <a:pt x="520" y="528"/>
                      <a:pt x="499" y="437"/>
                      <a:pt x="475" y="379"/>
                    </a:cubicBezTo>
                    <a:cubicBezTo>
                      <a:pt x="451" y="321"/>
                      <a:pt x="415" y="254"/>
                      <a:pt x="385" y="210"/>
                    </a:cubicBezTo>
                    <a:cubicBezTo>
                      <a:pt x="355" y="167"/>
                      <a:pt x="332" y="143"/>
                      <a:pt x="295" y="115"/>
                    </a:cubicBezTo>
                    <a:cubicBezTo>
                      <a:pt x="257" y="88"/>
                      <a:pt x="210" y="63"/>
                      <a:pt x="161" y="43"/>
                    </a:cubicBezTo>
                    <a:cubicBezTo>
                      <a:pt x="112" y="24"/>
                      <a:pt x="34" y="9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53" name="Freeform 63"/>
              <p:cNvSpPr>
                <a:spLocks noChangeAspect="1"/>
              </p:cNvSpPr>
              <p:nvPr/>
            </p:nvSpPr>
            <p:spPr bwMode="auto">
              <a:xfrm flipV="1">
                <a:off x="5028" y="885"/>
                <a:ext cx="483" cy="472"/>
              </a:xfrm>
              <a:custGeom>
                <a:avLst/>
                <a:gdLst>
                  <a:gd name="T0" fmla="*/ 1 w 811"/>
                  <a:gd name="T1" fmla="*/ 0 h 794"/>
                  <a:gd name="T2" fmla="*/ 1 w 811"/>
                  <a:gd name="T3" fmla="*/ 1 h 794"/>
                  <a:gd name="T4" fmla="*/ 1 w 811"/>
                  <a:gd name="T5" fmla="*/ 1 h 794"/>
                  <a:gd name="T6" fmla="*/ 1 w 811"/>
                  <a:gd name="T7" fmla="*/ 1 h 794"/>
                  <a:gd name="T8" fmla="*/ 0 w 811"/>
                  <a:gd name="T9" fmla="*/ 1 h 7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11"/>
                  <a:gd name="T16" fmla="*/ 0 h 794"/>
                  <a:gd name="T17" fmla="*/ 811 w 811"/>
                  <a:gd name="T18" fmla="*/ 794 h 7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11" h="794">
                    <a:moveTo>
                      <a:pt x="811" y="0"/>
                    </a:moveTo>
                    <a:cubicBezTo>
                      <a:pt x="792" y="41"/>
                      <a:pt x="744" y="163"/>
                      <a:pt x="696" y="248"/>
                    </a:cubicBezTo>
                    <a:cubicBezTo>
                      <a:pt x="648" y="333"/>
                      <a:pt x="596" y="432"/>
                      <a:pt x="523" y="509"/>
                    </a:cubicBezTo>
                    <a:cubicBezTo>
                      <a:pt x="450" y="586"/>
                      <a:pt x="345" y="663"/>
                      <a:pt x="258" y="710"/>
                    </a:cubicBezTo>
                    <a:cubicBezTo>
                      <a:pt x="171" y="757"/>
                      <a:pt x="54" y="777"/>
                      <a:pt x="0" y="79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4" name="Freeform 64"/>
              <p:cNvSpPr>
                <a:spLocks noChangeAspect="1"/>
              </p:cNvSpPr>
              <p:nvPr/>
            </p:nvSpPr>
            <p:spPr bwMode="auto">
              <a:xfrm flipV="1">
                <a:off x="3863" y="866"/>
                <a:ext cx="1578" cy="539"/>
              </a:xfrm>
              <a:custGeom>
                <a:avLst/>
                <a:gdLst>
                  <a:gd name="T0" fmla="*/ 0 w 2653"/>
                  <a:gd name="T1" fmla="*/ 1 h 905"/>
                  <a:gd name="T2" fmla="*/ 1 w 2653"/>
                  <a:gd name="T3" fmla="*/ 1 h 905"/>
                  <a:gd name="T4" fmla="*/ 1 w 2653"/>
                  <a:gd name="T5" fmla="*/ 1 h 905"/>
                  <a:gd name="T6" fmla="*/ 1 w 2653"/>
                  <a:gd name="T7" fmla="*/ 1 h 905"/>
                  <a:gd name="T8" fmla="*/ 1 w 2653"/>
                  <a:gd name="T9" fmla="*/ 1 h 905"/>
                  <a:gd name="T10" fmla="*/ 1 w 2653"/>
                  <a:gd name="T11" fmla="*/ 1 h 905"/>
                  <a:gd name="T12" fmla="*/ 1 w 2653"/>
                  <a:gd name="T13" fmla="*/ 1 h 905"/>
                  <a:gd name="T14" fmla="*/ 1 w 2653"/>
                  <a:gd name="T15" fmla="*/ 1 h 905"/>
                  <a:gd name="T16" fmla="*/ 1 w 2653"/>
                  <a:gd name="T17" fmla="*/ 0 h 90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53"/>
                  <a:gd name="T28" fmla="*/ 0 h 905"/>
                  <a:gd name="T29" fmla="*/ 2653 w 2653"/>
                  <a:gd name="T30" fmla="*/ 905 h 90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53" h="905">
                    <a:moveTo>
                      <a:pt x="0" y="871"/>
                    </a:moveTo>
                    <a:cubicBezTo>
                      <a:pt x="56" y="874"/>
                      <a:pt x="196" y="884"/>
                      <a:pt x="335" y="890"/>
                    </a:cubicBezTo>
                    <a:cubicBezTo>
                      <a:pt x="474" y="896"/>
                      <a:pt x="641" y="905"/>
                      <a:pt x="834" y="905"/>
                    </a:cubicBezTo>
                    <a:cubicBezTo>
                      <a:pt x="1027" y="905"/>
                      <a:pt x="1321" y="899"/>
                      <a:pt x="1492" y="888"/>
                    </a:cubicBezTo>
                    <a:cubicBezTo>
                      <a:pt x="1663" y="877"/>
                      <a:pt x="1751" y="868"/>
                      <a:pt x="1863" y="839"/>
                    </a:cubicBezTo>
                    <a:cubicBezTo>
                      <a:pt x="1975" y="810"/>
                      <a:pt x="2073" y="768"/>
                      <a:pt x="2162" y="716"/>
                    </a:cubicBezTo>
                    <a:cubicBezTo>
                      <a:pt x="2251" y="664"/>
                      <a:pt x="2327" y="604"/>
                      <a:pt x="2396" y="526"/>
                    </a:cubicBezTo>
                    <a:cubicBezTo>
                      <a:pt x="2465" y="448"/>
                      <a:pt x="2533" y="336"/>
                      <a:pt x="2576" y="248"/>
                    </a:cubicBezTo>
                    <a:cubicBezTo>
                      <a:pt x="2619" y="160"/>
                      <a:pt x="2637" y="52"/>
                      <a:pt x="265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5" name="Freeform 65"/>
              <p:cNvSpPr>
                <a:spLocks noChangeAspect="1"/>
              </p:cNvSpPr>
              <p:nvPr/>
            </p:nvSpPr>
            <p:spPr bwMode="auto">
              <a:xfrm>
                <a:off x="1505" y="834"/>
                <a:ext cx="2559" cy="257"/>
              </a:xfrm>
              <a:custGeom>
                <a:avLst/>
                <a:gdLst>
                  <a:gd name="T0" fmla="*/ 1 w 4302"/>
                  <a:gd name="T1" fmla="*/ 1 h 432"/>
                  <a:gd name="T2" fmla="*/ 1 w 4302"/>
                  <a:gd name="T3" fmla="*/ 1 h 432"/>
                  <a:gd name="T4" fmla="*/ 1 w 4302"/>
                  <a:gd name="T5" fmla="*/ 1 h 432"/>
                  <a:gd name="T6" fmla="*/ 1 w 4302"/>
                  <a:gd name="T7" fmla="*/ 1 h 432"/>
                  <a:gd name="T8" fmla="*/ 1 w 4302"/>
                  <a:gd name="T9" fmla="*/ 1 h 432"/>
                  <a:gd name="T10" fmla="*/ 1 w 4302"/>
                  <a:gd name="T11" fmla="*/ 1 h 432"/>
                  <a:gd name="T12" fmla="*/ 1 w 4302"/>
                  <a:gd name="T13" fmla="*/ 1 h 432"/>
                  <a:gd name="T14" fmla="*/ 1 w 4302"/>
                  <a:gd name="T15" fmla="*/ 1 h 432"/>
                  <a:gd name="T16" fmla="*/ 1 w 4302"/>
                  <a:gd name="T17" fmla="*/ 1 h 432"/>
                  <a:gd name="T18" fmla="*/ 1 w 4302"/>
                  <a:gd name="T19" fmla="*/ 1 h 432"/>
                  <a:gd name="T20" fmla="*/ 1 w 4302"/>
                  <a:gd name="T21" fmla="*/ 1 h 432"/>
                  <a:gd name="T22" fmla="*/ 0 w 4302"/>
                  <a:gd name="T23" fmla="*/ 1 h 432"/>
                  <a:gd name="T24" fmla="*/ 1 w 4302"/>
                  <a:gd name="T25" fmla="*/ 1 h 432"/>
                  <a:gd name="T26" fmla="*/ 1 w 4302"/>
                  <a:gd name="T27" fmla="*/ 0 h 43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302"/>
                  <a:gd name="T43" fmla="*/ 0 h 432"/>
                  <a:gd name="T44" fmla="*/ 4302 w 4302"/>
                  <a:gd name="T45" fmla="*/ 432 h 432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302" h="432">
                    <a:moveTo>
                      <a:pt x="4289" y="15"/>
                    </a:moveTo>
                    <a:cubicBezTo>
                      <a:pt x="4289" y="33"/>
                      <a:pt x="4302" y="94"/>
                      <a:pt x="4292" y="122"/>
                    </a:cubicBezTo>
                    <a:cubicBezTo>
                      <a:pt x="4282" y="150"/>
                      <a:pt x="4268" y="167"/>
                      <a:pt x="4229" y="183"/>
                    </a:cubicBezTo>
                    <a:cubicBezTo>
                      <a:pt x="4190" y="199"/>
                      <a:pt x="4211" y="191"/>
                      <a:pt x="4055" y="217"/>
                    </a:cubicBezTo>
                    <a:cubicBezTo>
                      <a:pt x="3899" y="243"/>
                      <a:pt x="3516" y="309"/>
                      <a:pt x="3291" y="342"/>
                    </a:cubicBezTo>
                    <a:cubicBezTo>
                      <a:pt x="3066" y="375"/>
                      <a:pt x="2919" y="400"/>
                      <a:pt x="2703" y="414"/>
                    </a:cubicBezTo>
                    <a:cubicBezTo>
                      <a:pt x="2487" y="428"/>
                      <a:pt x="2366" y="426"/>
                      <a:pt x="1993" y="429"/>
                    </a:cubicBezTo>
                    <a:cubicBezTo>
                      <a:pt x="1620" y="432"/>
                      <a:pt x="756" y="430"/>
                      <a:pt x="465" y="430"/>
                    </a:cubicBezTo>
                    <a:lnTo>
                      <a:pt x="245" y="432"/>
                    </a:lnTo>
                    <a:cubicBezTo>
                      <a:pt x="197" y="425"/>
                      <a:pt x="213" y="430"/>
                      <a:pt x="174" y="388"/>
                    </a:cubicBezTo>
                    <a:cubicBezTo>
                      <a:pt x="135" y="346"/>
                      <a:pt x="38" y="219"/>
                      <a:pt x="9" y="180"/>
                    </a:cubicBezTo>
                    <a:lnTo>
                      <a:pt x="0" y="151"/>
                    </a:lnTo>
                    <a:cubicBezTo>
                      <a:pt x="1" y="135"/>
                      <a:pt x="4" y="107"/>
                      <a:pt x="12" y="82"/>
                    </a:cubicBezTo>
                    <a:cubicBezTo>
                      <a:pt x="20" y="57"/>
                      <a:pt x="41" y="17"/>
                      <a:pt x="48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56" name="Freeform 66"/>
              <p:cNvSpPr>
                <a:spLocks noChangeAspect="1"/>
              </p:cNvSpPr>
              <p:nvPr/>
            </p:nvSpPr>
            <p:spPr bwMode="auto">
              <a:xfrm flipV="1">
                <a:off x="3878" y="910"/>
                <a:ext cx="685" cy="74"/>
              </a:xfrm>
              <a:custGeom>
                <a:avLst/>
                <a:gdLst>
                  <a:gd name="T0" fmla="*/ 0 w 1152"/>
                  <a:gd name="T1" fmla="*/ 1 h 123"/>
                  <a:gd name="T2" fmla="*/ 1 w 1152"/>
                  <a:gd name="T3" fmla="*/ 1 h 123"/>
                  <a:gd name="T4" fmla="*/ 1 w 1152"/>
                  <a:gd name="T5" fmla="*/ 1 h 123"/>
                  <a:gd name="T6" fmla="*/ 1 w 1152"/>
                  <a:gd name="T7" fmla="*/ 1 h 123"/>
                  <a:gd name="T8" fmla="*/ 1 w 1152"/>
                  <a:gd name="T9" fmla="*/ 1 h 123"/>
                  <a:gd name="T10" fmla="*/ 1 w 1152"/>
                  <a:gd name="T11" fmla="*/ 1 h 1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52"/>
                  <a:gd name="T19" fmla="*/ 0 h 123"/>
                  <a:gd name="T20" fmla="*/ 1152 w 1152"/>
                  <a:gd name="T21" fmla="*/ 123 h 1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52" h="123">
                    <a:moveTo>
                      <a:pt x="0" y="122"/>
                    </a:moveTo>
                    <a:cubicBezTo>
                      <a:pt x="56" y="122"/>
                      <a:pt x="243" y="123"/>
                      <a:pt x="333" y="120"/>
                    </a:cubicBezTo>
                    <a:cubicBezTo>
                      <a:pt x="423" y="117"/>
                      <a:pt x="450" y="118"/>
                      <a:pt x="543" y="102"/>
                    </a:cubicBezTo>
                    <a:cubicBezTo>
                      <a:pt x="636" y="86"/>
                      <a:pt x="821" y="37"/>
                      <a:pt x="894" y="21"/>
                    </a:cubicBezTo>
                    <a:cubicBezTo>
                      <a:pt x="967" y="5"/>
                      <a:pt x="941" y="6"/>
                      <a:pt x="984" y="3"/>
                    </a:cubicBezTo>
                    <a:cubicBezTo>
                      <a:pt x="1027" y="0"/>
                      <a:pt x="1117" y="3"/>
                      <a:pt x="1152" y="3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7" name="Freeform 67"/>
              <p:cNvSpPr>
                <a:spLocks noChangeAspect="1"/>
              </p:cNvSpPr>
              <p:nvPr/>
            </p:nvSpPr>
            <p:spPr bwMode="auto">
              <a:xfrm flipV="1">
                <a:off x="2812" y="929"/>
                <a:ext cx="943" cy="141"/>
              </a:xfrm>
              <a:custGeom>
                <a:avLst/>
                <a:gdLst>
                  <a:gd name="T0" fmla="*/ 1 w 1584"/>
                  <a:gd name="T1" fmla="*/ 1 h 237"/>
                  <a:gd name="T2" fmla="*/ 1 w 1584"/>
                  <a:gd name="T3" fmla="*/ 1 h 237"/>
                  <a:gd name="T4" fmla="*/ 1 w 1584"/>
                  <a:gd name="T5" fmla="*/ 0 h 237"/>
                  <a:gd name="T6" fmla="*/ 0 w 1584"/>
                  <a:gd name="T7" fmla="*/ 1 h 237"/>
                  <a:gd name="T8" fmla="*/ 1 w 1584"/>
                  <a:gd name="T9" fmla="*/ 1 h 237"/>
                  <a:gd name="T10" fmla="*/ 1 w 1584"/>
                  <a:gd name="T11" fmla="*/ 1 h 237"/>
                  <a:gd name="T12" fmla="*/ 1 w 1584"/>
                  <a:gd name="T13" fmla="*/ 1 h 237"/>
                  <a:gd name="T14" fmla="*/ 1 w 1584"/>
                  <a:gd name="T15" fmla="*/ 1 h 237"/>
                  <a:gd name="T16" fmla="*/ 1 w 1584"/>
                  <a:gd name="T17" fmla="*/ 1 h 2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84"/>
                  <a:gd name="T28" fmla="*/ 0 h 237"/>
                  <a:gd name="T29" fmla="*/ 1584 w 1584"/>
                  <a:gd name="T30" fmla="*/ 237 h 2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84" h="237">
                    <a:moveTo>
                      <a:pt x="1485" y="147"/>
                    </a:moveTo>
                    <a:cubicBezTo>
                      <a:pt x="1208" y="99"/>
                      <a:pt x="925" y="51"/>
                      <a:pt x="684" y="27"/>
                    </a:cubicBezTo>
                    <a:cubicBezTo>
                      <a:pt x="443" y="3"/>
                      <a:pt x="150" y="4"/>
                      <a:pt x="36" y="0"/>
                    </a:cubicBezTo>
                    <a:lnTo>
                      <a:pt x="0" y="3"/>
                    </a:lnTo>
                    <a:cubicBezTo>
                      <a:pt x="8" y="43"/>
                      <a:pt x="66" y="198"/>
                      <a:pt x="84" y="237"/>
                    </a:cubicBezTo>
                    <a:lnTo>
                      <a:pt x="111" y="237"/>
                    </a:lnTo>
                    <a:cubicBezTo>
                      <a:pt x="176" y="237"/>
                      <a:pt x="300" y="235"/>
                      <a:pt x="477" y="234"/>
                    </a:cubicBezTo>
                    <a:cubicBezTo>
                      <a:pt x="654" y="233"/>
                      <a:pt x="989" y="234"/>
                      <a:pt x="1173" y="234"/>
                    </a:cubicBezTo>
                    <a:cubicBezTo>
                      <a:pt x="1357" y="234"/>
                      <a:pt x="1499" y="237"/>
                      <a:pt x="1584" y="237"/>
                    </a:cubicBezTo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8" name="Freeform 68"/>
              <p:cNvSpPr>
                <a:spLocks noChangeAspect="1"/>
              </p:cNvSpPr>
              <p:nvPr/>
            </p:nvSpPr>
            <p:spPr bwMode="auto">
              <a:xfrm flipV="1">
                <a:off x="2669" y="843"/>
                <a:ext cx="82" cy="261"/>
              </a:xfrm>
              <a:custGeom>
                <a:avLst/>
                <a:gdLst>
                  <a:gd name="T0" fmla="*/ 1 w 137"/>
                  <a:gd name="T1" fmla="*/ 1 h 439"/>
                  <a:gd name="T2" fmla="*/ 1 w 137"/>
                  <a:gd name="T3" fmla="*/ 1 h 439"/>
                  <a:gd name="T4" fmla="*/ 1 w 137"/>
                  <a:gd name="T5" fmla="*/ 1 h 439"/>
                  <a:gd name="T6" fmla="*/ 1 w 13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7"/>
                  <a:gd name="T13" fmla="*/ 0 h 439"/>
                  <a:gd name="T14" fmla="*/ 137 w 13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7" h="439">
                    <a:moveTo>
                      <a:pt x="8" y="1"/>
                    </a:moveTo>
                    <a:cubicBezTo>
                      <a:pt x="9" y="10"/>
                      <a:pt x="0" y="0"/>
                      <a:pt x="17" y="52"/>
                    </a:cubicBezTo>
                    <a:cubicBezTo>
                      <a:pt x="34" y="104"/>
                      <a:pt x="90" y="248"/>
                      <a:pt x="110" y="313"/>
                    </a:cubicBezTo>
                    <a:cubicBezTo>
                      <a:pt x="130" y="378"/>
                      <a:pt x="132" y="413"/>
                      <a:pt x="137" y="43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59" name="Freeform 69"/>
              <p:cNvSpPr>
                <a:spLocks noChangeAspect="1"/>
              </p:cNvSpPr>
              <p:nvPr/>
            </p:nvSpPr>
            <p:spPr bwMode="auto">
              <a:xfrm flipV="1">
                <a:off x="717" y="860"/>
                <a:ext cx="3055" cy="57"/>
              </a:xfrm>
              <a:custGeom>
                <a:avLst/>
                <a:gdLst>
                  <a:gd name="T0" fmla="*/ 1 w 5134"/>
                  <a:gd name="T1" fmla="*/ 1 h 96"/>
                  <a:gd name="T2" fmla="*/ 1 w 5134"/>
                  <a:gd name="T3" fmla="*/ 1 h 96"/>
                  <a:gd name="T4" fmla="*/ 1 w 5134"/>
                  <a:gd name="T5" fmla="*/ 1 h 96"/>
                  <a:gd name="T6" fmla="*/ 1 w 5134"/>
                  <a:gd name="T7" fmla="*/ 1 h 96"/>
                  <a:gd name="T8" fmla="*/ 1 w 5134"/>
                  <a:gd name="T9" fmla="*/ 1 h 96"/>
                  <a:gd name="T10" fmla="*/ 1 w 5134"/>
                  <a:gd name="T11" fmla="*/ 1 h 96"/>
                  <a:gd name="T12" fmla="*/ 0 w 5134"/>
                  <a:gd name="T13" fmla="*/ 1 h 9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134"/>
                  <a:gd name="T22" fmla="*/ 0 h 96"/>
                  <a:gd name="T23" fmla="*/ 5134 w 5134"/>
                  <a:gd name="T24" fmla="*/ 96 h 9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134" h="96">
                    <a:moveTo>
                      <a:pt x="5134" y="5"/>
                    </a:moveTo>
                    <a:cubicBezTo>
                      <a:pt x="4856" y="6"/>
                      <a:pt x="3983" y="10"/>
                      <a:pt x="3465" y="11"/>
                    </a:cubicBezTo>
                    <a:cubicBezTo>
                      <a:pt x="2947" y="12"/>
                      <a:pt x="2345" y="0"/>
                      <a:pt x="2025" y="12"/>
                    </a:cubicBezTo>
                    <a:cubicBezTo>
                      <a:pt x="1705" y="24"/>
                      <a:pt x="1725" y="70"/>
                      <a:pt x="1542" y="83"/>
                    </a:cubicBezTo>
                    <a:cubicBezTo>
                      <a:pt x="1359" y="96"/>
                      <a:pt x="1071" y="92"/>
                      <a:pt x="927" y="92"/>
                    </a:cubicBezTo>
                    <a:cubicBezTo>
                      <a:pt x="783" y="92"/>
                      <a:pt x="829" y="90"/>
                      <a:pt x="675" y="86"/>
                    </a:cubicBezTo>
                    <a:cubicBezTo>
                      <a:pt x="521" y="82"/>
                      <a:pt x="141" y="72"/>
                      <a:pt x="0" y="6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0" name="Freeform 70"/>
              <p:cNvSpPr>
                <a:spLocks noChangeAspect="1"/>
              </p:cNvSpPr>
              <p:nvPr/>
            </p:nvSpPr>
            <p:spPr bwMode="auto">
              <a:xfrm flipV="1">
                <a:off x="1812" y="931"/>
                <a:ext cx="803" cy="140"/>
              </a:xfrm>
              <a:custGeom>
                <a:avLst/>
                <a:gdLst>
                  <a:gd name="T0" fmla="*/ 0 w 1349"/>
                  <a:gd name="T1" fmla="*/ 0 h 235"/>
                  <a:gd name="T2" fmla="*/ 1 w 1349"/>
                  <a:gd name="T3" fmla="*/ 0 h 235"/>
                  <a:gd name="T4" fmla="*/ 1 w 1349"/>
                  <a:gd name="T5" fmla="*/ 0 h 235"/>
                  <a:gd name="T6" fmla="*/ 1 w 1349"/>
                  <a:gd name="T7" fmla="*/ 0 h 235"/>
                  <a:gd name="T8" fmla="*/ 1 w 1349"/>
                  <a:gd name="T9" fmla="*/ 0 h 235"/>
                  <a:gd name="T10" fmla="*/ 1 w 1349"/>
                  <a:gd name="T11" fmla="*/ 1 h 235"/>
                  <a:gd name="T12" fmla="*/ 1 w 1349"/>
                  <a:gd name="T13" fmla="*/ 1 h 235"/>
                  <a:gd name="T14" fmla="*/ 1 w 1349"/>
                  <a:gd name="T15" fmla="*/ 1 h 235"/>
                  <a:gd name="T16" fmla="*/ 1 w 1349"/>
                  <a:gd name="T17" fmla="*/ 1 h 235"/>
                  <a:gd name="T18" fmla="*/ 1 w 1349"/>
                  <a:gd name="T19" fmla="*/ 1 h 235"/>
                  <a:gd name="T20" fmla="*/ 1 w 1349"/>
                  <a:gd name="T21" fmla="*/ 1 h 235"/>
                  <a:gd name="T22" fmla="*/ 1 w 1349"/>
                  <a:gd name="T23" fmla="*/ 1 h 235"/>
                  <a:gd name="T24" fmla="*/ 1 w 1349"/>
                  <a:gd name="T25" fmla="*/ 1 h 235"/>
                  <a:gd name="T26" fmla="*/ 0 w 1349"/>
                  <a:gd name="T27" fmla="*/ 0 h 2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349"/>
                  <a:gd name="T43" fmla="*/ 0 h 235"/>
                  <a:gd name="T44" fmla="*/ 1349 w 1349"/>
                  <a:gd name="T45" fmla="*/ 235 h 23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349" h="235">
                    <a:moveTo>
                      <a:pt x="0" y="0"/>
                    </a:moveTo>
                    <a:lnTo>
                      <a:pt x="36" y="0"/>
                    </a:lnTo>
                    <a:cubicBezTo>
                      <a:pt x="151" y="0"/>
                      <a:pt x="490" y="0"/>
                      <a:pt x="690" y="0"/>
                    </a:cubicBezTo>
                    <a:cubicBezTo>
                      <a:pt x="890" y="0"/>
                      <a:pt x="1141" y="0"/>
                      <a:pt x="1239" y="0"/>
                    </a:cubicBezTo>
                    <a:lnTo>
                      <a:pt x="1278" y="0"/>
                    </a:lnTo>
                    <a:lnTo>
                      <a:pt x="1287" y="39"/>
                    </a:lnTo>
                    <a:cubicBezTo>
                      <a:pt x="1296" y="70"/>
                      <a:pt x="1323" y="152"/>
                      <a:pt x="1333" y="185"/>
                    </a:cubicBezTo>
                    <a:lnTo>
                      <a:pt x="1349" y="235"/>
                    </a:lnTo>
                    <a:lnTo>
                      <a:pt x="1320" y="234"/>
                    </a:lnTo>
                    <a:cubicBezTo>
                      <a:pt x="1214" y="233"/>
                      <a:pt x="912" y="233"/>
                      <a:pt x="711" y="231"/>
                    </a:cubicBezTo>
                    <a:cubicBezTo>
                      <a:pt x="510" y="229"/>
                      <a:pt x="219" y="227"/>
                      <a:pt x="114" y="225"/>
                    </a:cubicBezTo>
                    <a:lnTo>
                      <a:pt x="81" y="222"/>
                    </a:lnTo>
                    <a:lnTo>
                      <a:pt x="39" y="111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1" name="Freeform 71"/>
              <p:cNvSpPr>
                <a:spLocks noChangeAspect="1"/>
              </p:cNvSpPr>
              <p:nvPr/>
            </p:nvSpPr>
            <p:spPr bwMode="auto">
              <a:xfrm>
                <a:off x="511" y="914"/>
                <a:ext cx="1593" cy="153"/>
              </a:xfrm>
              <a:custGeom>
                <a:avLst/>
                <a:gdLst>
                  <a:gd name="T0" fmla="*/ 1 w 2676"/>
                  <a:gd name="T1" fmla="*/ 0 h 257"/>
                  <a:gd name="T2" fmla="*/ 1 w 2676"/>
                  <a:gd name="T3" fmla="*/ 1 h 257"/>
                  <a:gd name="T4" fmla="*/ 1 w 2676"/>
                  <a:gd name="T5" fmla="*/ 1 h 257"/>
                  <a:gd name="T6" fmla="*/ 1 w 2676"/>
                  <a:gd name="T7" fmla="*/ 1 h 257"/>
                  <a:gd name="T8" fmla="*/ 1 w 2676"/>
                  <a:gd name="T9" fmla="*/ 1 h 257"/>
                  <a:gd name="T10" fmla="*/ 0 w 2676"/>
                  <a:gd name="T11" fmla="*/ 1 h 2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676"/>
                  <a:gd name="T19" fmla="*/ 0 h 257"/>
                  <a:gd name="T20" fmla="*/ 2676 w 2676"/>
                  <a:gd name="T21" fmla="*/ 257 h 25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676" h="257">
                    <a:moveTo>
                      <a:pt x="2676" y="0"/>
                    </a:moveTo>
                    <a:cubicBezTo>
                      <a:pt x="2573" y="3"/>
                      <a:pt x="2328" y="13"/>
                      <a:pt x="2056" y="16"/>
                    </a:cubicBezTo>
                    <a:cubicBezTo>
                      <a:pt x="1784" y="19"/>
                      <a:pt x="1317" y="5"/>
                      <a:pt x="1042" y="20"/>
                    </a:cubicBezTo>
                    <a:cubicBezTo>
                      <a:pt x="767" y="35"/>
                      <a:pt x="555" y="82"/>
                      <a:pt x="406" y="108"/>
                    </a:cubicBezTo>
                    <a:cubicBezTo>
                      <a:pt x="257" y="134"/>
                      <a:pt x="214" y="149"/>
                      <a:pt x="146" y="174"/>
                    </a:cubicBezTo>
                    <a:cubicBezTo>
                      <a:pt x="78" y="199"/>
                      <a:pt x="30" y="240"/>
                      <a:pt x="0" y="25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62" name="Freeform 72"/>
              <p:cNvSpPr>
                <a:spLocks noChangeAspect="1"/>
              </p:cNvSpPr>
              <p:nvPr/>
            </p:nvSpPr>
            <p:spPr bwMode="auto">
              <a:xfrm flipV="1">
                <a:off x="1635" y="942"/>
                <a:ext cx="205" cy="129"/>
              </a:xfrm>
              <a:custGeom>
                <a:avLst/>
                <a:gdLst>
                  <a:gd name="T0" fmla="*/ 1 w 385"/>
                  <a:gd name="T1" fmla="*/ 0 h 218"/>
                  <a:gd name="T2" fmla="*/ 1 w 385"/>
                  <a:gd name="T3" fmla="*/ 1 h 218"/>
                  <a:gd name="T4" fmla="*/ 1 w 385"/>
                  <a:gd name="T5" fmla="*/ 1 h 218"/>
                  <a:gd name="T6" fmla="*/ 1 w 385"/>
                  <a:gd name="T7" fmla="*/ 1 h 218"/>
                  <a:gd name="T8" fmla="*/ 1 w 385"/>
                  <a:gd name="T9" fmla="*/ 1 h 218"/>
                  <a:gd name="T10" fmla="*/ 1 w 385"/>
                  <a:gd name="T11" fmla="*/ 0 h 218"/>
                  <a:gd name="T12" fmla="*/ 1 w 385"/>
                  <a:gd name="T13" fmla="*/ 0 h 2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5"/>
                  <a:gd name="T22" fmla="*/ 0 h 218"/>
                  <a:gd name="T23" fmla="*/ 385 w 385"/>
                  <a:gd name="T24" fmla="*/ 218 h 2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5" h="218">
                    <a:moveTo>
                      <a:pt x="301" y="0"/>
                    </a:moveTo>
                    <a:lnTo>
                      <a:pt x="385" y="218"/>
                    </a:lnTo>
                    <a:lnTo>
                      <a:pt x="56" y="216"/>
                    </a:lnTo>
                    <a:cubicBezTo>
                      <a:pt x="0" y="204"/>
                      <a:pt x="37" y="179"/>
                      <a:pt x="50" y="148"/>
                    </a:cubicBezTo>
                    <a:lnTo>
                      <a:pt x="137" y="28"/>
                    </a:lnTo>
                    <a:cubicBezTo>
                      <a:pt x="158" y="3"/>
                      <a:pt x="151" y="5"/>
                      <a:pt x="178" y="0"/>
                    </a:cubicBezTo>
                    <a:lnTo>
                      <a:pt x="301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3" name="Freeform 73"/>
              <p:cNvSpPr>
                <a:spLocks noChangeAspect="1"/>
              </p:cNvSpPr>
              <p:nvPr/>
            </p:nvSpPr>
            <p:spPr bwMode="auto">
              <a:xfrm flipV="1">
                <a:off x="793" y="941"/>
                <a:ext cx="813" cy="147"/>
              </a:xfrm>
              <a:custGeom>
                <a:avLst/>
                <a:gdLst>
                  <a:gd name="T0" fmla="*/ 1 w 1365"/>
                  <a:gd name="T1" fmla="*/ 1 h 247"/>
                  <a:gd name="T2" fmla="*/ 1 w 1365"/>
                  <a:gd name="T3" fmla="*/ 1 h 247"/>
                  <a:gd name="T4" fmla="*/ 1 w 1365"/>
                  <a:gd name="T5" fmla="*/ 1 h 247"/>
                  <a:gd name="T6" fmla="*/ 1 w 1365"/>
                  <a:gd name="T7" fmla="*/ 1 h 247"/>
                  <a:gd name="T8" fmla="*/ 1 w 1365"/>
                  <a:gd name="T9" fmla="*/ 1 h 247"/>
                  <a:gd name="T10" fmla="*/ 1 w 1365"/>
                  <a:gd name="T11" fmla="*/ 1 h 247"/>
                  <a:gd name="T12" fmla="*/ 1 w 1365"/>
                  <a:gd name="T13" fmla="*/ 1 h 247"/>
                  <a:gd name="T14" fmla="*/ 1 w 1365"/>
                  <a:gd name="T15" fmla="*/ 1 h 247"/>
                  <a:gd name="T16" fmla="*/ 1 w 1365"/>
                  <a:gd name="T17" fmla="*/ 1 h 247"/>
                  <a:gd name="T18" fmla="*/ 1 w 1365"/>
                  <a:gd name="T19" fmla="*/ 1 h 247"/>
                  <a:gd name="T20" fmla="*/ 1 w 1365"/>
                  <a:gd name="T21" fmla="*/ 0 h 247"/>
                  <a:gd name="T22" fmla="*/ 1 w 1365"/>
                  <a:gd name="T23" fmla="*/ 1 h 2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365"/>
                  <a:gd name="T37" fmla="*/ 0 h 247"/>
                  <a:gd name="T38" fmla="*/ 1365 w 1365"/>
                  <a:gd name="T39" fmla="*/ 247 h 24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365" h="247">
                    <a:moveTo>
                      <a:pt x="1365" y="7"/>
                    </a:moveTo>
                    <a:lnTo>
                      <a:pt x="1169" y="245"/>
                    </a:lnTo>
                    <a:lnTo>
                      <a:pt x="1140" y="247"/>
                    </a:lnTo>
                    <a:cubicBezTo>
                      <a:pt x="1070" y="246"/>
                      <a:pt x="880" y="247"/>
                      <a:pt x="747" y="240"/>
                    </a:cubicBezTo>
                    <a:cubicBezTo>
                      <a:pt x="614" y="233"/>
                      <a:pt x="455" y="218"/>
                      <a:pt x="339" y="205"/>
                    </a:cubicBezTo>
                    <a:cubicBezTo>
                      <a:pt x="223" y="192"/>
                      <a:pt x="96" y="173"/>
                      <a:pt x="48" y="159"/>
                    </a:cubicBezTo>
                    <a:cubicBezTo>
                      <a:pt x="0" y="145"/>
                      <a:pt x="29" y="136"/>
                      <a:pt x="48" y="123"/>
                    </a:cubicBezTo>
                    <a:cubicBezTo>
                      <a:pt x="67" y="110"/>
                      <a:pt x="122" y="95"/>
                      <a:pt x="161" y="81"/>
                    </a:cubicBezTo>
                    <a:lnTo>
                      <a:pt x="285" y="40"/>
                    </a:lnTo>
                    <a:cubicBezTo>
                      <a:pt x="359" y="28"/>
                      <a:pt x="424" y="16"/>
                      <a:pt x="603" y="9"/>
                    </a:cubicBezTo>
                    <a:cubicBezTo>
                      <a:pt x="782" y="2"/>
                      <a:pt x="1231" y="0"/>
                      <a:pt x="1358" y="0"/>
                    </a:cubicBezTo>
                    <a:lnTo>
                      <a:pt x="1365" y="7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EAEAEA"/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4" name="Freeform 74"/>
              <p:cNvSpPr>
                <a:spLocks noChangeAspect="1"/>
              </p:cNvSpPr>
              <p:nvPr/>
            </p:nvSpPr>
            <p:spPr bwMode="auto">
              <a:xfrm flipV="1">
                <a:off x="283" y="852"/>
                <a:ext cx="444" cy="405"/>
              </a:xfrm>
              <a:custGeom>
                <a:avLst/>
                <a:gdLst>
                  <a:gd name="T0" fmla="*/ 417 w 444"/>
                  <a:gd name="T1" fmla="*/ 400 h 405"/>
                  <a:gd name="T2" fmla="*/ 437 w 444"/>
                  <a:gd name="T3" fmla="*/ 386 h 405"/>
                  <a:gd name="T4" fmla="*/ 414 w 444"/>
                  <a:gd name="T5" fmla="*/ 364 h 405"/>
                  <a:gd name="T6" fmla="*/ 289 w 444"/>
                  <a:gd name="T7" fmla="*/ 333 h 405"/>
                  <a:gd name="T8" fmla="*/ 190 w 444"/>
                  <a:gd name="T9" fmla="*/ 283 h 405"/>
                  <a:gd name="T10" fmla="*/ 118 w 444"/>
                  <a:gd name="T11" fmla="*/ 204 h 405"/>
                  <a:gd name="T12" fmla="*/ 56 w 444"/>
                  <a:gd name="T13" fmla="*/ 84 h 405"/>
                  <a:gd name="T14" fmla="*/ 32 w 444"/>
                  <a:gd name="T15" fmla="*/ 15 h 405"/>
                  <a:gd name="T16" fmla="*/ 7 w 444"/>
                  <a:gd name="T17" fmla="*/ 1 h 405"/>
                  <a:gd name="T18" fmla="*/ 0 w 444"/>
                  <a:gd name="T19" fmla="*/ 0 h 405"/>
                  <a:gd name="T20" fmla="*/ 36 w 444"/>
                  <a:gd name="T21" fmla="*/ 113 h 405"/>
                  <a:gd name="T22" fmla="*/ 95 w 444"/>
                  <a:gd name="T23" fmla="*/ 230 h 405"/>
                  <a:gd name="T24" fmla="*/ 140 w 444"/>
                  <a:gd name="T25" fmla="*/ 291 h 405"/>
                  <a:gd name="T26" fmla="*/ 186 w 444"/>
                  <a:gd name="T27" fmla="*/ 333 h 405"/>
                  <a:gd name="T28" fmla="*/ 196 w 444"/>
                  <a:gd name="T29" fmla="*/ 360 h 405"/>
                  <a:gd name="T30" fmla="*/ 210 w 444"/>
                  <a:gd name="T31" fmla="*/ 363 h 405"/>
                  <a:gd name="T32" fmla="*/ 258 w 444"/>
                  <a:gd name="T33" fmla="*/ 369 h 405"/>
                  <a:gd name="T34" fmla="*/ 417 w 444"/>
                  <a:gd name="T35" fmla="*/ 400 h 40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44"/>
                  <a:gd name="T55" fmla="*/ 0 h 405"/>
                  <a:gd name="T56" fmla="*/ 444 w 444"/>
                  <a:gd name="T57" fmla="*/ 405 h 40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44" h="405">
                    <a:moveTo>
                      <a:pt x="417" y="400"/>
                    </a:moveTo>
                    <a:cubicBezTo>
                      <a:pt x="444" y="405"/>
                      <a:pt x="437" y="392"/>
                      <a:pt x="437" y="386"/>
                    </a:cubicBezTo>
                    <a:cubicBezTo>
                      <a:pt x="436" y="380"/>
                      <a:pt x="438" y="373"/>
                      <a:pt x="414" y="364"/>
                    </a:cubicBezTo>
                    <a:cubicBezTo>
                      <a:pt x="389" y="355"/>
                      <a:pt x="326" y="346"/>
                      <a:pt x="289" y="333"/>
                    </a:cubicBezTo>
                    <a:cubicBezTo>
                      <a:pt x="252" y="319"/>
                      <a:pt x="218" y="304"/>
                      <a:pt x="190" y="283"/>
                    </a:cubicBezTo>
                    <a:cubicBezTo>
                      <a:pt x="161" y="261"/>
                      <a:pt x="140" y="237"/>
                      <a:pt x="118" y="204"/>
                    </a:cubicBezTo>
                    <a:cubicBezTo>
                      <a:pt x="96" y="170"/>
                      <a:pt x="70" y="115"/>
                      <a:pt x="56" y="84"/>
                    </a:cubicBezTo>
                    <a:cubicBezTo>
                      <a:pt x="42" y="52"/>
                      <a:pt x="41" y="29"/>
                      <a:pt x="32" y="15"/>
                    </a:cubicBezTo>
                    <a:lnTo>
                      <a:pt x="7" y="1"/>
                    </a:lnTo>
                    <a:lnTo>
                      <a:pt x="0" y="0"/>
                    </a:lnTo>
                    <a:cubicBezTo>
                      <a:pt x="5" y="18"/>
                      <a:pt x="21" y="74"/>
                      <a:pt x="36" y="113"/>
                    </a:cubicBezTo>
                    <a:cubicBezTo>
                      <a:pt x="52" y="151"/>
                      <a:pt x="78" y="201"/>
                      <a:pt x="95" y="230"/>
                    </a:cubicBezTo>
                    <a:cubicBezTo>
                      <a:pt x="112" y="260"/>
                      <a:pt x="125" y="274"/>
                      <a:pt x="140" y="291"/>
                    </a:cubicBezTo>
                    <a:cubicBezTo>
                      <a:pt x="155" y="308"/>
                      <a:pt x="177" y="322"/>
                      <a:pt x="186" y="333"/>
                    </a:cubicBezTo>
                    <a:lnTo>
                      <a:pt x="196" y="360"/>
                    </a:lnTo>
                    <a:lnTo>
                      <a:pt x="210" y="363"/>
                    </a:lnTo>
                    <a:cubicBezTo>
                      <a:pt x="220" y="365"/>
                      <a:pt x="224" y="363"/>
                      <a:pt x="258" y="369"/>
                    </a:cubicBezTo>
                    <a:cubicBezTo>
                      <a:pt x="292" y="375"/>
                      <a:pt x="384" y="394"/>
                      <a:pt x="417" y="40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5" name="Freeform 75"/>
              <p:cNvSpPr>
                <a:spLocks noChangeAspect="1"/>
              </p:cNvSpPr>
              <p:nvPr/>
            </p:nvSpPr>
            <p:spPr bwMode="auto">
              <a:xfrm flipV="1">
                <a:off x="415" y="957"/>
                <a:ext cx="88" cy="30"/>
              </a:xfrm>
              <a:custGeom>
                <a:avLst/>
                <a:gdLst>
                  <a:gd name="T0" fmla="*/ 1 w 147"/>
                  <a:gd name="T1" fmla="*/ 1 h 52"/>
                  <a:gd name="T2" fmla="*/ 1 w 147"/>
                  <a:gd name="T3" fmla="*/ 1 h 52"/>
                  <a:gd name="T4" fmla="*/ 1 w 147"/>
                  <a:gd name="T5" fmla="*/ 1 h 52"/>
                  <a:gd name="T6" fmla="*/ 1 w 147"/>
                  <a:gd name="T7" fmla="*/ 1 h 5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7"/>
                  <a:gd name="T13" fmla="*/ 0 h 52"/>
                  <a:gd name="T14" fmla="*/ 147 w 147"/>
                  <a:gd name="T15" fmla="*/ 52 h 5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7" h="52">
                    <a:moveTo>
                      <a:pt x="15" y="42"/>
                    </a:moveTo>
                    <a:cubicBezTo>
                      <a:pt x="14" y="36"/>
                      <a:pt x="0" y="8"/>
                      <a:pt x="9" y="4"/>
                    </a:cubicBezTo>
                    <a:cubicBezTo>
                      <a:pt x="18" y="0"/>
                      <a:pt x="49" y="10"/>
                      <a:pt x="72" y="18"/>
                    </a:cubicBezTo>
                    <a:cubicBezTo>
                      <a:pt x="95" y="26"/>
                      <a:pt x="132" y="45"/>
                      <a:pt x="147" y="5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6" name="Freeform 76"/>
              <p:cNvSpPr>
                <a:spLocks noChangeAspect="1"/>
              </p:cNvSpPr>
              <p:nvPr/>
            </p:nvSpPr>
            <p:spPr bwMode="auto">
              <a:xfrm flipV="1">
                <a:off x="222" y="1279"/>
                <a:ext cx="57" cy="90"/>
              </a:xfrm>
              <a:custGeom>
                <a:avLst/>
                <a:gdLst>
                  <a:gd name="T0" fmla="*/ 1 w 96"/>
                  <a:gd name="T1" fmla="*/ 1 h 150"/>
                  <a:gd name="T2" fmla="*/ 1 w 96"/>
                  <a:gd name="T3" fmla="*/ 1 h 150"/>
                  <a:gd name="T4" fmla="*/ 1 w 96"/>
                  <a:gd name="T5" fmla="*/ 1 h 150"/>
                  <a:gd name="T6" fmla="*/ 0 w 96"/>
                  <a:gd name="T7" fmla="*/ 0 h 15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6"/>
                  <a:gd name="T13" fmla="*/ 0 h 150"/>
                  <a:gd name="T14" fmla="*/ 96 w 96"/>
                  <a:gd name="T15" fmla="*/ 150 h 15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6" h="150">
                    <a:moveTo>
                      <a:pt x="96" y="150"/>
                    </a:moveTo>
                    <a:cubicBezTo>
                      <a:pt x="91" y="148"/>
                      <a:pt x="73" y="148"/>
                      <a:pt x="63" y="141"/>
                    </a:cubicBezTo>
                    <a:cubicBezTo>
                      <a:pt x="53" y="134"/>
                      <a:pt x="44" y="132"/>
                      <a:pt x="33" y="108"/>
                    </a:cubicBezTo>
                    <a:cubicBezTo>
                      <a:pt x="22" y="84"/>
                      <a:pt x="7" y="22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7" name="Freeform 77"/>
              <p:cNvSpPr>
                <a:spLocks noChangeAspect="1"/>
              </p:cNvSpPr>
              <p:nvPr/>
            </p:nvSpPr>
            <p:spPr bwMode="auto">
              <a:xfrm flipV="1">
                <a:off x="200" y="1328"/>
                <a:ext cx="70" cy="193"/>
              </a:xfrm>
              <a:custGeom>
                <a:avLst/>
                <a:gdLst>
                  <a:gd name="T0" fmla="*/ 1 w 117"/>
                  <a:gd name="T1" fmla="*/ 1 h 325"/>
                  <a:gd name="T2" fmla="*/ 1 w 117"/>
                  <a:gd name="T3" fmla="*/ 1 h 325"/>
                  <a:gd name="T4" fmla="*/ 1 w 117"/>
                  <a:gd name="T5" fmla="*/ 1 h 325"/>
                  <a:gd name="T6" fmla="*/ 0 w 117"/>
                  <a:gd name="T7" fmla="*/ 0 h 32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325"/>
                  <a:gd name="T14" fmla="*/ 117 w 117"/>
                  <a:gd name="T15" fmla="*/ 325 h 32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325">
                    <a:moveTo>
                      <a:pt x="117" y="325"/>
                    </a:moveTo>
                    <a:cubicBezTo>
                      <a:pt x="110" y="322"/>
                      <a:pt x="83" y="324"/>
                      <a:pt x="70" y="304"/>
                    </a:cubicBezTo>
                    <a:cubicBezTo>
                      <a:pt x="57" y="284"/>
                      <a:pt x="54" y="258"/>
                      <a:pt x="42" y="207"/>
                    </a:cubicBezTo>
                    <a:cubicBezTo>
                      <a:pt x="30" y="156"/>
                      <a:pt x="9" y="43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68" name="Freeform 78"/>
              <p:cNvSpPr>
                <a:spLocks noChangeAspect="1"/>
              </p:cNvSpPr>
              <p:nvPr/>
            </p:nvSpPr>
            <p:spPr bwMode="auto">
              <a:xfrm>
                <a:off x="3607" y="3015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69" name="Freeform 79"/>
              <p:cNvSpPr>
                <a:spLocks noChangeAspect="1"/>
              </p:cNvSpPr>
              <p:nvPr/>
            </p:nvSpPr>
            <p:spPr bwMode="auto">
              <a:xfrm>
                <a:off x="3681" y="2955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0" name="Freeform 80"/>
              <p:cNvSpPr>
                <a:spLocks noChangeAspect="1"/>
              </p:cNvSpPr>
              <p:nvPr/>
            </p:nvSpPr>
            <p:spPr bwMode="auto">
              <a:xfrm>
                <a:off x="3621" y="2965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1" name="Freeform 81"/>
              <p:cNvSpPr>
                <a:spLocks noChangeAspect="1"/>
              </p:cNvSpPr>
              <p:nvPr/>
            </p:nvSpPr>
            <p:spPr bwMode="auto">
              <a:xfrm>
                <a:off x="3754" y="2990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2" name="Freeform 82"/>
              <p:cNvSpPr>
                <a:spLocks noChangeAspect="1"/>
              </p:cNvSpPr>
              <p:nvPr/>
            </p:nvSpPr>
            <p:spPr bwMode="auto">
              <a:xfrm>
                <a:off x="3699" y="2899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3" name="Freeform 83"/>
              <p:cNvSpPr>
                <a:spLocks noChangeAspect="1"/>
              </p:cNvSpPr>
              <p:nvPr/>
            </p:nvSpPr>
            <p:spPr bwMode="auto">
              <a:xfrm flipV="1">
                <a:off x="3607" y="619"/>
                <a:ext cx="255" cy="248"/>
              </a:xfrm>
              <a:custGeom>
                <a:avLst/>
                <a:gdLst>
                  <a:gd name="T0" fmla="*/ 0 w 426"/>
                  <a:gd name="T1" fmla="*/ 1 h 417"/>
                  <a:gd name="T2" fmla="*/ 1 w 426"/>
                  <a:gd name="T3" fmla="*/ 1 h 417"/>
                  <a:gd name="T4" fmla="*/ 1 w 426"/>
                  <a:gd name="T5" fmla="*/ 1 h 417"/>
                  <a:gd name="T6" fmla="*/ 1 w 426"/>
                  <a:gd name="T7" fmla="*/ 1 h 417"/>
                  <a:gd name="T8" fmla="*/ 1 w 426"/>
                  <a:gd name="T9" fmla="*/ 1 h 417"/>
                  <a:gd name="T10" fmla="*/ 1 w 426"/>
                  <a:gd name="T11" fmla="*/ 1 h 417"/>
                  <a:gd name="T12" fmla="*/ 1 w 426"/>
                  <a:gd name="T13" fmla="*/ 1 h 417"/>
                  <a:gd name="T14" fmla="*/ 1 w 426"/>
                  <a:gd name="T15" fmla="*/ 1 h 417"/>
                  <a:gd name="T16" fmla="*/ 1 w 426"/>
                  <a:gd name="T17" fmla="*/ 1 h 417"/>
                  <a:gd name="T18" fmla="*/ 1 w 426"/>
                  <a:gd name="T19" fmla="*/ 1 h 417"/>
                  <a:gd name="T20" fmla="*/ 1 w 426"/>
                  <a:gd name="T21" fmla="*/ 1 h 417"/>
                  <a:gd name="T22" fmla="*/ 1 w 426"/>
                  <a:gd name="T23" fmla="*/ 1 h 417"/>
                  <a:gd name="T24" fmla="*/ 1 w 426"/>
                  <a:gd name="T25" fmla="*/ 1 h 417"/>
                  <a:gd name="T26" fmla="*/ 0 w 426"/>
                  <a:gd name="T27" fmla="*/ 1 h 41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6"/>
                  <a:gd name="T43" fmla="*/ 0 h 417"/>
                  <a:gd name="T44" fmla="*/ 426 w 426"/>
                  <a:gd name="T45" fmla="*/ 417 h 41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6" h="417">
                    <a:moveTo>
                      <a:pt x="0" y="380"/>
                    </a:moveTo>
                    <a:lnTo>
                      <a:pt x="5" y="394"/>
                    </a:lnTo>
                    <a:cubicBezTo>
                      <a:pt x="10" y="398"/>
                      <a:pt x="19" y="403"/>
                      <a:pt x="32" y="407"/>
                    </a:cubicBezTo>
                    <a:cubicBezTo>
                      <a:pt x="45" y="411"/>
                      <a:pt x="70" y="415"/>
                      <a:pt x="83" y="416"/>
                    </a:cubicBezTo>
                    <a:cubicBezTo>
                      <a:pt x="96" y="417"/>
                      <a:pt x="106" y="414"/>
                      <a:pt x="113" y="413"/>
                    </a:cubicBezTo>
                    <a:lnTo>
                      <a:pt x="126" y="409"/>
                    </a:lnTo>
                    <a:cubicBezTo>
                      <a:pt x="144" y="396"/>
                      <a:pt x="184" y="375"/>
                      <a:pt x="219" y="337"/>
                    </a:cubicBezTo>
                    <a:cubicBezTo>
                      <a:pt x="254" y="299"/>
                      <a:pt x="303" y="232"/>
                      <a:pt x="338" y="179"/>
                    </a:cubicBezTo>
                    <a:cubicBezTo>
                      <a:pt x="373" y="126"/>
                      <a:pt x="414" y="49"/>
                      <a:pt x="426" y="20"/>
                    </a:cubicBezTo>
                    <a:lnTo>
                      <a:pt x="407" y="7"/>
                    </a:lnTo>
                    <a:lnTo>
                      <a:pt x="219" y="7"/>
                    </a:lnTo>
                    <a:lnTo>
                      <a:pt x="207" y="13"/>
                    </a:lnTo>
                    <a:cubicBezTo>
                      <a:pt x="199" y="22"/>
                      <a:pt x="205" y="0"/>
                      <a:pt x="170" y="61"/>
                    </a:cubicBezTo>
                    <a:cubicBezTo>
                      <a:pt x="135" y="122"/>
                      <a:pt x="35" y="314"/>
                      <a:pt x="0" y="380"/>
                    </a:cubicBezTo>
                    <a:close/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4" name="Freeform 84"/>
              <p:cNvSpPr>
                <a:spLocks noChangeAspect="1"/>
              </p:cNvSpPr>
              <p:nvPr/>
            </p:nvSpPr>
            <p:spPr bwMode="auto">
              <a:xfrm flipV="1">
                <a:off x="3681" y="627"/>
                <a:ext cx="204" cy="300"/>
              </a:xfrm>
              <a:custGeom>
                <a:avLst/>
                <a:gdLst>
                  <a:gd name="T0" fmla="*/ 0 w 343"/>
                  <a:gd name="T1" fmla="*/ 1 h 504"/>
                  <a:gd name="T2" fmla="*/ 1 w 343"/>
                  <a:gd name="T3" fmla="*/ 1 h 504"/>
                  <a:gd name="T4" fmla="*/ 1 w 343"/>
                  <a:gd name="T5" fmla="*/ 1 h 504"/>
                  <a:gd name="T6" fmla="*/ 1 w 343"/>
                  <a:gd name="T7" fmla="*/ 1 h 504"/>
                  <a:gd name="T8" fmla="*/ 1 w 343"/>
                  <a:gd name="T9" fmla="*/ 1 h 504"/>
                  <a:gd name="T10" fmla="*/ 1 w 343"/>
                  <a:gd name="T11" fmla="*/ 0 h 50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3"/>
                  <a:gd name="T19" fmla="*/ 0 h 504"/>
                  <a:gd name="T20" fmla="*/ 343 w 343"/>
                  <a:gd name="T21" fmla="*/ 504 h 50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3" h="504">
                    <a:moveTo>
                      <a:pt x="0" y="495"/>
                    </a:moveTo>
                    <a:cubicBezTo>
                      <a:pt x="6" y="492"/>
                      <a:pt x="10" y="504"/>
                      <a:pt x="37" y="474"/>
                    </a:cubicBezTo>
                    <a:cubicBezTo>
                      <a:pt x="64" y="444"/>
                      <a:pt x="127" y="368"/>
                      <a:pt x="163" y="316"/>
                    </a:cubicBezTo>
                    <a:cubicBezTo>
                      <a:pt x="199" y="264"/>
                      <a:pt x="228" y="204"/>
                      <a:pt x="253" y="162"/>
                    </a:cubicBezTo>
                    <a:cubicBezTo>
                      <a:pt x="278" y="120"/>
                      <a:pt x="297" y="93"/>
                      <a:pt x="312" y="66"/>
                    </a:cubicBezTo>
                    <a:cubicBezTo>
                      <a:pt x="327" y="39"/>
                      <a:pt x="337" y="14"/>
                      <a:pt x="34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5" name="Freeform 85"/>
              <p:cNvSpPr>
                <a:spLocks noChangeAspect="1"/>
              </p:cNvSpPr>
              <p:nvPr/>
            </p:nvSpPr>
            <p:spPr bwMode="auto">
              <a:xfrm flipV="1">
                <a:off x="3621" y="632"/>
                <a:ext cx="242" cy="285"/>
              </a:xfrm>
              <a:custGeom>
                <a:avLst/>
                <a:gdLst>
                  <a:gd name="T0" fmla="*/ 1 w 406"/>
                  <a:gd name="T1" fmla="*/ 1 h 481"/>
                  <a:gd name="T2" fmla="*/ 1 w 406"/>
                  <a:gd name="T3" fmla="*/ 1 h 481"/>
                  <a:gd name="T4" fmla="*/ 1 w 406"/>
                  <a:gd name="T5" fmla="*/ 1 h 481"/>
                  <a:gd name="T6" fmla="*/ 1 w 406"/>
                  <a:gd name="T7" fmla="*/ 1 h 481"/>
                  <a:gd name="T8" fmla="*/ 1 w 406"/>
                  <a:gd name="T9" fmla="*/ 1 h 481"/>
                  <a:gd name="T10" fmla="*/ 1 w 406"/>
                  <a:gd name="T11" fmla="*/ 1 h 481"/>
                  <a:gd name="T12" fmla="*/ 1 w 406"/>
                  <a:gd name="T13" fmla="*/ 1 h 481"/>
                  <a:gd name="T14" fmla="*/ 1 w 406"/>
                  <a:gd name="T15" fmla="*/ 0 h 481"/>
                  <a:gd name="T16" fmla="*/ 1 w 406"/>
                  <a:gd name="T17" fmla="*/ 1 h 481"/>
                  <a:gd name="T18" fmla="*/ 1 w 406"/>
                  <a:gd name="T19" fmla="*/ 1 h 48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06"/>
                  <a:gd name="T31" fmla="*/ 0 h 481"/>
                  <a:gd name="T32" fmla="*/ 406 w 406"/>
                  <a:gd name="T33" fmla="*/ 481 h 48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06" h="481">
                    <a:moveTo>
                      <a:pt x="4" y="463"/>
                    </a:moveTo>
                    <a:cubicBezTo>
                      <a:pt x="9" y="456"/>
                      <a:pt x="0" y="481"/>
                      <a:pt x="34" y="419"/>
                    </a:cubicBezTo>
                    <a:cubicBezTo>
                      <a:pt x="68" y="357"/>
                      <a:pt x="175" y="152"/>
                      <a:pt x="206" y="93"/>
                    </a:cubicBezTo>
                    <a:lnTo>
                      <a:pt x="221" y="65"/>
                    </a:lnTo>
                    <a:lnTo>
                      <a:pt x="223" y="50"/>
                    </a:lnTo>
                    <a:cubicBezTo>
                      <a:pt x="228" y="41"/>
                      <a:pt x="243" y="17"/>
                      <a:pt x="250" y="9"/>
                    </a:cubicBezTo>
                    <a:lnTo>
                      <a:pt x="265" y="2"/>
                    </a:lnTo>
                    <a:lnTo>
                      <a:pt x="338" y="0"/>
                    </a:lnTo>
                    <a:cubicBezTo>
                      <a:pt x="356" y="3"/>
                      <a:pt x="362" y="10"/>
                      <a:pt x="373" y="20"/>
                    </a:cubicBezTo>
                    <a:cubicBezTo>
                      <a:pt x="384" y="30"/>
                      <a:pt x="399" y="50"/>
                      <a:pt x="406" y="58"/>
                    </a:cubicBezTo>
                  </a:path>
                </a:pathLst>
              </a:custGeom>
              <a:solidFill>
                <a:srgbClr val="C5C5C5"/>
              </a:solidFill>
              <a:ln w="9525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6" name="Freeform 86"/>
              <p:cNvSpPr>
                <a:spLocks noChangeAspect="1"/>
              </p:cNvSpPr>
              <p:nvPr/>
            </p:nvSpPr>
            <p:spPr bwMode="auto">
              <a:xfrm flipV="1">
                <a:off x="3754" y="884"/>
                <a:ext cx="109" cy="8"/>
              </a:xfrm>
              <a:custGeom>
                <a:avLst/>
                <a:gdLst>
                  <a:gd name="T0" fmla="*/ 0 w 183"/>
                  <a:gd name="T1" fmla="*/ 1 h 14"/>
                  <a:gd name="T2" fmla="*/ 1 w 183"/>
                  <a:gd name="T3" fmla="*/ 1 h 14"/>
                  <a:gd name="T4" fmla="*/ 1 w 183"/>
                  <a:gd name="T5" fmla="*/ 1 h 14"/>
                  <a:gd name="T6" fmla="*/ 1 w 183"/>
                  <a:gd name="T7" fmla="*/ 1 h 1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3"/>
                  <a:gd name="T13" fmla="*/ 0 h 14"/>
                  <a:gd name="T14" fmla="*/ 183 w 183"/>
                  <a:gd name="T15" fmla="*/ 14 h 1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3" h="14">
                    <a:moveTo>
                      <a:pt x="0" y="10"/>
                    </a:moveTo>
                    <a:cubicBezTo>
                      <a:pt x="5" y="9"/>
                      <a:pt x="9" y="2"/>
                      <a:pt x="33" y="1"/>
                    </a:cubicBezTo>
                    <a:cubicBezTo>
                      <a:pt x="57" y="0"/>
                      <a:pt x="119" y="2"/>
                      <a:pt x="144" y="4"/>
                    </a:cubicBezTo>
                    <a:cubicBezTo>
                      <a:pt x="169" y="6"/>
                      <a:pt x="175" y="12"/>
                      <a:pt x="183" y="1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7" name="Freeform 87"/>
              <p:cNvSpPr>
                <a:spLocks noChangeAspect="1"/>
              </p:cNvSpPr>
              <p:nvPr/>
            </p:nvSpPr>
            <p:spPr bwMode="auto">
              <a:xfrm flipV="1">
                <a:off x="3699" y="914"/>
                <a:ext cx="250" cy="69"/>
              </a:xfrm>
              <a:custGeom>
                <a:avLst/>
                <a:gdLst>
                  <a:gd name="T0" fmla="*/ 1 w 420"/>
                  <a:gd name="T1" fmla="*/ 1 h 115"/>
                  <a:gd name="T2" fmla="*/ 1 w 420"/>
                  <a:gd name="T3" fmla="*/ 1 h 115"/>
                  <a:gd name="T4" fmla="*/ 1 w 420"/>
                  <a:gd name="T5" fmla="*/ 1 h 115"/>
                  <a:gd name="T6" fmla="*/ 1 w 420"/>
                  <a:gd name="T7" fmla="*/ 1 h 115"/>
                  <a:gd name="T8" fmla="*/ 0 w 420"/>
                  <a:gd name="T9" fmla="*/ 0 h 115"/>
                  <a:gd name="T10" fmla="*/ 1 w 420"/>
                  <a:gd name="T11" fmla="*/ 1 h 115"/>
                  <a:gd name="T12" fmla="*/ 1 w 420"/>
                  <a:gd name="T13" fmla="*/ 1 h 115"/>
                  <a:gd name="T14" fmla="*/ 1 w 420"/>
                  <a:gd name="T15" fmla="*/ 1 h 115"/>
                  <a:gd name="T16" fmla="*/ 1 w 420"/>
                  <a:gd name="T17" fmla="*/ 1 h 115"/>
                  <a:gd name="T18" fmla="*/ 1 w 420"/>
                  <a:gd name="T19" fmla="*/ 1 h 115"/>
                  <a:gd name="T20" fmla="*/ 1 w 420"/>
                  <a:gd name="T21" fmla="*/ 1 h 115"/>
                  <a:gd name="T22" fmla="*/ 1 w 420"/>
                  <a:gd name="T23" fmla="*/ 1 h 1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20"/>
                  <a:gd name="T37" fmla="*/ 0 h 115"/>
                  <a:gd name="T38" fmla="*/ 420 w 420"/>
                  <a:gd name="T39" fmla="*/ 115 h 1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20" h="115">
                    <a:moveTo>
                      <a:pt x="316" y="94"/>
                    </a:moveTo>
                    <a:lnTo>
                      <a:pt x="414" y="91"/>
                    </a:lnTo>
                    <a:lnTo>
                      <a:pt x="420" y="81"/>
                    </a:lnTo>
                    <a:lnTo>
                      <a:pt x="412" y="72"/>
                    </a:lnTo>
                    <a:lnTo>
                      <a:pt x="0" y="0"/>
                    </a:lnTo>
                    <a:lnTo>
                      <a:pt x="111" y="102"/>
                    </a:lnTo>
                    <a:lnTo>
                      <a:pt x="126" y="115"/>
                    </a:lnTo>
                    <a:lnTo>
                      <a:pt x="135" y="105"/>
                    </a:lnTo>
                    <a:lnTo>
                      <a:pt x="126" y="88"/>
                    </a:lnTo>
                    <a:cubicBezTo>
                      <a:pt x="129" y="80"/>
                      <a:pt x="126" y="61"/>
                      <a:pt x="154" y="58"/>
                    </a:cubicBezTo>
                    <a:lnTo>
                      <a:pt x="297" y="70"/>
                    </a:lnTo>
                    <a:cubicBezTo>
                      <a:pt x="324" y="76"/>
                      <a:pt x="312" y="89"/>
                      <a:pt x="316" y="94"/>
                    </a:cubicBezTo>
                    <a:close/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78" name="Freeform 88"/>
              <p:cNvSpPr>
                <a:spLocks noChangeAspect="1"/>
              </p:cNvSpPr>
              <p:nvPr/>
            </p:nvSpPr>
            <p:spPr bwMode="auto">
              <a:xfrm>
                <a:off x="2897" y="2648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79" name="Freeform 89"/>
              <p:cNvSpPr>
                <a:spLocks noChangeAspect="1"/>
              </p:cNvSpPr>
              <p:nvPr/>
            </p:nvSpPr>
            <p:spPr bwMode="auto">
              <a:xfrm>
                <a:off x="2903" y="2564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0" name="Freeform 90"/>
              <p:cNvSpPr>
                <a:spLocks noChangeAspect="1"/>
              </p:cNvSpPr>
              <p:nvPr/>
            </p:nvSpPr>
            <p:spPr bwMode="auto">
              <a:xfrm>
                <a:off x="2862" y="2551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1" name="Freeform 91"/>
              <p:cNvSpPr>
                <a:spLocks noChangeAspect="1"/>
              </p:cNvSpPr>
              <p:nvPr/>
            </p:nvSpPr>
            <p:spPr bwMode="auto">
              <a:xfrm>
                <a:off x="2869" y="2548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2" name="Freeform 92"/>
              <p:cNvSpPr>
                <a:spLocks noChangeAspect="1"/>
              </p:cNvSpPr>
              <p:nvPr/>
            </p:nvSpPr>
            <p:spPr bwMode="auto">
              <a:xfrm>
                <a:off x="2867" y="2679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3" name="Freeform 93"/>
              <p:cNvSpPr>
                <a:spLocks noChangeAspect="1"/>
              </p:cNvSpPr>
              <p:nvPr/>
            </p:nvSpPr>
            <p:spPr bwMode="auto">
              <a:xfrm>
                <a:off x="760" y="2645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4" name="Freeform 94"/>
              <p:cNvSpPr>
                <a:spLocks noChangeAspect="1"/>
              </p:cNvSpPr>
              <p:nvPr/>
            </p:nvSpPr>
            <p:spPr bwMode="auto">
              <a:xfrm>
                <a:off x="759" y="2556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5" name="Freeform 95"/>
              <p:cNvSpPr>
                <a:spLocks noChangeAspect="1"/>
              </p:cNvSpPr>
              <p:nvPr/>
            </p:nvSpPr>
            <p:spPr bwMode="auto">
              <a:xfrm>
                <a:off x="760" y="2567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6" name="Freeform 96"/>
              <p:cNvSpPr>
                <a:spLocks noChangeAspect="1"/>
              </p:cNvSpPr>
              <p:nvPr/>
            </p:nvSpPr>
            <p:spPr bwMode="auto">
              <a:xfrm>
                <a:off x="760" y="2624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7" name="Freeform 97"/>
              <p:cNvSpPr>
                <a:spLocks noChangeAspect="1"/>
              </p:cNvSpPr>
              <p:nvPr/>
            </p:nvSpPr>
            <p:spPr bwMode="auto">
              <a:xfrm>
                <a:off x="996" y="2557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8" name="Line 98"/>
              <p:cNvSpPr>
                <a:spLocks noChangeAspect="1" noChangeShapeType="1"/>
              </p:cNvSpPr>
              <p:nvPr/>
            </p:nvSpPr>
            <p:spPr bwMode="auto">
              <a:xfrm>
                <a:off x="1000" y="2586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89" name="Line 99"/>
              <p:cNvSpPr>
                <a:spLocks noChangeAspect="1" noChangeShapeType="1"/>
              </p:cNvSpPr>
              <p:nvPr/>
            </p:nvSpPr>
            <p:spPr bwMode="auto">
              <a:xfrm>
                <a:off x="999" y="2618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90" name="Line 100"/>
              <p:cNvSpPr>
                <a:spLocks noChangeAspect="1" noChangeShapeType="1"/>
              </p:cNvSpPr>
              <p:nvPr/>
            </p:nvSpPr>
            <p:spPr bwMode="auto">
              <a:xfrm>
                <a:off x="1011" y="2633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91" name="Line 101"/>
              <p:cNvSpPr>
                <a:spLocks noChangeAspect="1" noChangeShapeType="1"/>
              </p:cNvSpPr>
              <p:nvPr/>
            </p:nvSpPr>
            <p:spPr bwMode="auto">
              <a:xfrm>
                <a:off x="1019" y="2572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92" name="Freeform 102"/>
              <p:cNvSpPr>
                <a:spLocks noChangeAspect="1"/>
              </p:cNvSpPr>
              <p:nvPr/>
            </p:nvSpPr>
            <p:spPr bwMode="auto">
              <a:xfrm flipV="1">
                <a:off x="2897" y="1196"/>
                <a:ext cx="498" cy="40"/>
              </a:xfrm>
              <a:custGeom>
                <a:avLst/>
                <a:gdLst>
                  <a:gd name="T0" fmla="*/ 0 w 838"/>
                  <a:gd name="T1" fmla="*/ 0 h 67"/>
                  <a:gd name="T2" fmla="*/ 1 w 838"/>
                  <a:gd name="T3" fmla="*/ 1 h 67"/>
                  <a:gd name="T4" fmla="*/ 1 w 838"/>
                  <a:gd name="T5" fmla="*/ 1 h 67"/>
                  <a:gd name="T6" fmla="*/ 0 60000 65536"/>
                  <a:gd name="T7" fmla="*/ 0 60000 65536"/>
                  <a:gd name="T8" fmla="*/ 0 60000 65536"/>
                  <a:gd name="T9" fmla="*/ 0 w 838"/>
                  <a:gd name="T10" fmla="*/ 0 h 67"/>
                  <a:gd name="T11" fmla="*/ 838 w 838"/>
                  <a:gd name="T12" fmla="*/ 67 h 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38" h="67">
                    <a:moveTo>
                      <a:pt x="0" y="0"/>
                    </a:moveTo>
                    <a:cubicBezTo>
                      <a:pt x="61" y="3"/>
                      <a:pt x="228" y="5"/>
                      <a:pt x="368" y="16"/>
                    </a:cubicBezTo>
                    <a:cubicBezTo>
                      <a:pt x="508" y="27"/>
                      <a:pt x="740" y="57"/>
                      <a:pt x="838" y="67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3" name="Freeform 103"/>
              <p:cNvSpPr>
                <a:spLocks noChangeAspect="1"/>
              </p:cNvSpPr>
              <p:nvPr/>
            </p:nvSpPr>
            <p:spPr bwMode="auto">
              <a:xfrm flipV="1">
                <a:off x="2903" y="1289"/>
                <a:ext cx="515" cy="31"/>
              </a:xfrm>
              <a:custGeom>
                <a:avLst/>
                <a:gdLst>
                  <a:gd name="T0" fmla="*/ 0 w 867"/>
                  <a:gd name="T1" fmla="*/ 1 h 51"/>
                  <a:gd name="T2" fmla="*/ 1 w 867"/>
                  <a:gd name="T3" fmla="*/ 1 h 51"/>
                  <a:gd name="T4" fmla="*/ 1 w 867"/>
                  <a:gd name="T5" fmla="*/ 0 h 51"/>
                  <a:gd name="T6" fmla="*/ 0 60000 65536"/>
                  <a:gd name="T7" fmla="*/ 0 60000 65536"/>
                  <a:gd name="T8" fmla="*/ 0 60000 65536"/>
                  <a:gd name="T9" fmla="*/ 0 w 867"/>
                  <a:gd name="T10" fmla="*/ 0 h 51"/>
                  <a:gd name="T11" fmla="*/ 867 w 867"/>
                  <a:gd name="T12" fmla="*/ 51 h 5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7" h="51">
                    <a:moveTo>
                      <a:pt x="0" y="46"/>
                    </a:moveTo>
                    <a:cubicBezTo>
                      <a:pt x="69" y="46"/>
                      <a:pt x="273" y="51"/>
                      <a:pt x="417" y="43"/>
                    </a:cubicBezTo>
                    <a:cubicBezTo>
                      <a:pt x="561" y="35"/>
                      <a:pt x="773" y="9"/>
                      <a:pt x="867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4" name="Freeform 104"/>
              <p:cNvSpPr>
                <a:spLocks noChangeAspect="1"/>
              </p:cNvSpPr>
              <p:nvPr/>
            </p:nvSpPr>
            <p:spPr bwMode="auto">
              <a:xfrm flipV="1">
                <a:off x="2862" y="1206"/>
                <a:ext cx="44" cy="127"/>
              </a:xfrm>
              <a:custGeom>
                <a:avLst/>
                <a:gdLst>
                  <a:gd name="T0" fmla="*/ 1 w 74"/>
                  <a:gd name="T1" fmla="*/ 0 h 215"/>
                  <a:gd name="T2" fmla="*/ 1 w 74"/>
                  <a:gd name="T3" fmla="*/ 1 h 215"/>
                  <a:gd name="T4" fmla="*/ 1 w 74"/>
                  <a:gd name="T5" fmla="*/ 1 h 215"/>
                  <a:gd name="T6" fmla="*/ 1 w 74"/>
                  <a:gd name="T7" fmla="*/ 1 h 215"/>
                  <a:gd name="T8" fmla="*/ 1 w 74"/>
                  <a:gd name="T9" fmla="*/ 1 h 215"/>
                  <a:gd name="T10" fmla="*/ 1 w 74"/>
                  <a:gd name="T11" fmla="*/ 1 h 2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4"/>
                  <a:gd name="T19" fmla="*/ 0 h 215"/>
                  <a:gd name="T20" fmla="*/ 74 w 74"/>
                  <a:gd name="T21" fmla="*/ 215 h 2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4" h="215">
                    <a:moveTo>
                      <a:pt x="11" y="0"/>
                    </a:moveTo>
                    <a:cubicBezTo>
                      <a:pt x="11" y="3"/>
                      <a:pt x="0" y="9"/>
                      <a:pt x="9" y="21"/>
                    </a:cubicBezTo>
                    <a:cubicBezTo>
                      <a:pt x="18" y="33"/>
                      <a:pt x="58" y="49"/>
                      <a:pt x="66" y="72"/>
                    </a:cubicBezTo>
                    <a:cubicBezTo>
                      <a:pt x="74" y="95"/>
                      <a:pt x="67" y="141"/>
                      <a:pt x="57" y="162"/>
                    </a:cubicBezTo>
                    <a:cubicBezTo>
                      <a:pt x="47" y="183"/>
                      <a:pt x="17" y="188"/>
                      <a:pt x="9" y="197"/>
                    </a:cubicBezTo>
                    <a:cubicBezTo>
                      <a:pt x="1" y="206"/>
                      <a:pt x="7" y="211"/>
                      <a:pt x="7" y="21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5" name="Freeform 105"/>
              <p:cNvSpPr>
                <a:spLocks noChangeAspect="1"/>
              </p:cNvSpPr>
              <p:nvPr/>
            </p:nvSpPr>
            <p:spPr bwMode="auto">
              <a:xfrm flipV="1">
                <a:off x="2869" y="1320"/>
                <a:ext cx="550" cy="16"/>
              </a:xfrm>
              <a:custGeom>
                <a:avLst/>
                <a:gdLst>
                  <a:gd name="T0" fmla="*/ 0 w 550"/>
                  <a:gd name="T1" fmla="*/ 2 h 16"/>
                  <a:gd name="T2" fmla="*/ 248 w 550"/>
                  <a:gd name="T3" fmla="*/ 2 h 16"/>
                  <a:gd name="T4" fmla="*/ 550 w 550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550"/>
                  <a:gd name="T10" fmla="*/ 0 h 16"/>
                  <a:gd name="T11" fmla="*/ 550 w 550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50" h="16">
                    <a:moveTo>
                      <a:pt x="0" y="2"/>
                    </a:moveTo>
                    <a:cubicBezTo>
                      <a:pt x="41" y="2"/>
                      <a:pt x="156" y="0"/>
                      <a:pt x="248" y="2"/>
                    </a:cubicBezTo>
                    <a:cubicBezTo>
                      <a:pt x="340" y="4"/>
                      <a:pt x="487" y="13"/>
                      <a:pt x="550" y="16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6" name="Freeform 106"/>
              <p:cNvSpPr>
                <a:spLocks noChangeAspect="1"/>
              </p:cNvSpPr>
              <p:nvPr/>
            </p:nvSpPr>
            <p:spPr bwMode="auto">
              <a:xfrm flipV="1">
                <a:off x="2867" y="1197"/>
                <a:ext cx="527" cy="8"/>
              </a:xfrm>
              <a:custGeom>
                <a:avLst/>
                <a:gdLst>
                  <a:gd name="T0" fmla="*/ 0 w 527"/>
                  <a:gd name="T1" fmla="*/ 0 h 8"/>
                  <a:gd name="T2" fmla="*/ 228 w 527"/>
                  <a:gd name="T3" fmla="*/ 6 h 8"/>
                  <a:gd name="T4" fmla="*/ 527 w 52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527"/>
                  <a:gd name="T10" fmla="*/ 0 h 8"/>
                  <a:gd name="T11" fmla="*/ 527 w 52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27" h="8">
                    <a:moveTo>
                      <a:pt x="0" y="0"/>
                    </a:moveTo>
                    <a:cubicBezTo>
                      <a:pt x="38" y="1"/>
                      <a:pt x="140" y="5"/>
                      <a:pt x="228" y="6"/>
                    </a:cubicBezTo>
                    <a:cubicBezTo>
                      <a:pt x="316" y="7"/>
                      <a:pt x="465" y="8"/>
                      <a:pt x="527" y="8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7" name="Freeform 107"/>
              <p:cNvSpPr>
                <a:spLocks noChangeAspect="1"/>
              </p:cNvSpPr>
              <p:nvPr/>
            </p:nvSpPr>
            <p:spPr bwMode="auto">
              <a:xfrm flipV="1">
                <a:off x="760" y="1230"/>
                <a:ext cx="271" cy="9"/>
              </a:xfrm>
              <a:custGeom>
                <a:avLst/>
                <a:gdLst>
                  <a:gd name="T0" fmla="*/ 0 w 271"/>
                  <a:gd name="T1" fmla="*/ 0 h 9"/>
                  <a:gd name="T2" fmla="*/ 118 w 271"/>
                  <a:gd name="T3" fmla="*/ 6 h 9"/>
                  <a:gd name="T4" fmla="*/ 271 w 271"/>
                  <a:gd name="T5" fmla="*/ 9 h 9"/>
                  <a:gd name="T6" fmla="*/ 0 60000 65536"/>
                  <a:gd name="T7" fmla="*/ 0 60000 65536"/>
                  <a:gd name="T8" fmla="*/ 0 60000 65536"/>
                  <a:gd name="T9" fmla="*/ 0 w 271"/>
                  <a:gd name="T10" fmla="*/ 0 h 9"/>
                  <a:gd name="T11" fmla="*/ 271 w 271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1" h="9">
                    <a:moveTo>
                      <a:pt x="0" y="0"/>
                    </a:moveTo>
                    <a:cubicBezTo>
                      <a:pt x="20" y="1"/>
                      <a:pt x="73" y="5"/>
                      <a:pt x="118" y="6"/>
                    </a:cubicBezTo>
                    <a:cubicBezTo>
                      <a:pt x="163" y="7"/>
                      <a:pt x="239" y="9"/>
                      <a:pt x="271" y="9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8" name="Freeform 108"/>
              <p:cNvSpPr>
                <a:spLocks noChangeAspect="1"/>
              </p:cNvSpPr>
              <p:nvPr/>
            </p:nvSpPr>
            <p:spPr bwMode="auto">
              <a:xfrm flipV="1">
                <a:off x="759" y="1317"/>
                <a:ext cx="274" cy="11"/>
              </a:xfrm>
              <a:custGeom>
                <a:avLst/>
                <a:gdLst>
                  <a:gd name="T0" fmla="*/ 0 w 274"/>
                  <a:gd name="T1" fmla="*/ 11 h 11"/>
                  <a:gd name="T2" fmla="*/ 122 w 274"/>
                  <a:gd name="T3" fmla="*/ 2 h 11"/>
                  <a:gd name="T4" fmla="*/ 274 w 274"/>
                  <a:gd name="T5" fmla="*/ 1 h 11"/>
                  <a:gd name="T6" fmla="*/ 0 60000 65536"/>
                  <a:gd name="T7" fmla="*/ 0 60000 65536"/>
                  <a:gd name="T8" fmla="*/ 0 60000 65536"/>
                  <a:gd name="T9" fmla="*/ 0 w 274"/>
                  <a:gd name="T10" fmla="*/ 0 h 11"/>
                  <a:gd name="T11" fmla="*/ 274 w 274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74" h="11">
                    <a:moveTo>
                      <a:pt x="0" y="11"/>
                    </a:moveTo>
                    <a:cubicBezTo>
                      <a:pt x="20" y="10"/>
                      <a:pt x="76" y="4"/>
                      <a:pt x="122" y="2"/>
                    </a:cubicBezTo>
                    <a:cubicBezTo>
                      <a:pt x="168" y="0"/>
                      <a:pt x="242" y="1"/>
                      <a:pt x="274" y="1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599" name="Freeform 109"/>
              <p:cNvSpPr>
                <a:spLocks noChangeAspect="1"/>
              </p:cNvSpPr>
              <p:nvPr/>
            </p:nvSpPr>
            <p:spPr bwMode="auto">
              <a:xfrm flipV="1">
                <a:off x="760" y="1302"/>
                <a:ext cx="239" cy="15"/>
              </a:xfrm>
              <a:custGeom>
                <a:avLst/>
                <a:gdLst>
                  <a:gd name="T0" fmla="*/ 1 w 402"/>
                  <a:gd name="T1" fmla="*/ 1 h 26"/>
                  <a:gd name="T2" fmla="*/ 1 w 402"/>
                  <a:gd name="T3" fmla="*/ 1 h 26"/>
                  <a:gd name="T4" fmla="*/ 0 w 402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26"/>
                  <a:gd name="T11" fmla="*/ 402 w 402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26">
                    <a:moveTo>
                      <a:pt x="402" y="26"/>
                    </a:moveTo>
                    <a:cubicBezTo>
                      <a:pt x="372" y="25"/>
                      <a:pt x="288" y="22"/>
                      <a:pt x="221" y="18"/>
                    </a:cubicBezTo>
                    <a:cubicBezTo>
                      <a:pt x="154" y="14"/>
                      <a:pt x="46" y="4"/>
                      <a:pt x="0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600" name="Freeform 110"/>
              <p:cNvSpPr>
                <a:spLocks noChangeAspect="1"/>
              </p:cNvSpPr>
              <p:nvPr/>
            </p:nvSpPr>
            <p:spPr bwMode="auto">
              <a:xfrm flipV="1">
                <a:off x="760" y="1240"/>
                <a:ext cx="239" cy="20"/>
              </a:xfrm>
              <a:custGeom>
                <a:avLst/>
                <a:gdLst>
                  <a:gd name="T0" fmla="*/ 0 w 402"/>
                  <a:gd name="T1" fmla="*/ 1 h 33"/>
                  <a:gd name="T2" fmla="*/ 1 w 402"/>
                  <a:gd name="T3" fmla="*/ 1 h 33"/>
                  <a:gd name="T4" fmla="*/ 1 w 402"/>
                  <a:gd name="T5" fmla="*/ 0 h 33"/>
                  <a:gd name="T6" fmla="*/ 0 60000 65536"/>
                  <a:gd name="T7" fmla="*/ 0 60000 65536"/>
                  <a:gd name="T8" fmla="*/ 0 60000 65536"/>
                  <a:gd name="T9" fmla="*/ 0 w 402"/>
                  <a:gd name="T10" fmla="*/ 0 h 33"/>
                  <a:gd name="T11" fmla="*/ 402 w 402"/>
                  <a:gd name="T12" fmla="*/ 33 h 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02" h="33">
                    <a:moveTo>
                      <a:pt x="0" y="33"/>
                    </a:moveTo>
                    <a:cubicBezTo>
                      <a:pt x="33" y="29"/>
                      <a:pt x="130" y="16"/>
                      <a:pt x="197" y="11"/>
                    </a:cubicBezTo>
                    <a:cubicBezTo>
                      <a:pt x="264" y="6"/>
                      <a:pt x="359" y="2"/>
                      <a:pt x="402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601" name="Freeform 111"/>
              <p:cNvSpPr>
                <a:spLocks noChangeAspect="1"/>
              </p:cNvSpPr>
              <p:nvPr/>
            </p:nvSpPr>
            <p:spPr bwMode="auto">
              <a:xfrm flipV="1">
                <a:off x="996" y="1230"/>
                <a:ext cx="38" cy="97"/>
              </a:xfrm>
              <a:custGeom>
                <a:avLst/>
                <a:gdLst>
                  <a:gd name="T0" fmla="*/ 1 w 64"/>
                  <a:gd name="T1" fmla="*/ 0 h 165"/>
                  <a:gd name="T2" fmla="*/ 1 w 64"/>
                  <a:gd name="T3" fmla="*/ 1 h 165"/>
                  <a:gd name="T4" fmla="*/ 1 w 64"/>
                  <a:gd name="T5" fmla="*/ 1 h 165"/>
                  <a:gd name="T6" fmla="*/ 1 w 64"/>
                  <a:gd name="T7" fmla="*/ 1 h 165"/>
                  <a:gd name="T8" fmla="*/ 1 w 64"/>
                  <a:gd name="T9" fmla="*/ 1 h 165"/>
                  <a:gd name="T10" fmla="*/ 1 w 64"/>
                  <a:gd name="T11" fmla="*/ 1 h 16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5"/>
                  <a:gd name="T20" fmla="*/ 64 w 64"/>
                  <a:gd name="T21" fmla="*/ 165 h 16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5">
                    <a:moveTo>
                      <a:pt x="64" y="0"/>
                    </a:moveTo>
                    <a:cubicBezTo>
                      <a:pt x="62" y="2"/>
                      <a:pt x="62" y="7"/>
                      <a:pt x="53" y="15"/>
                    </a:cubicBezTo>
                    <a:cubicBezTo>
                      <a:pt x="44" y="23"/>
                      <a:pt x="14" y="30"/>
                      <a:pt x="7" y="47"/>
                    </a:cubicBezTo>
                    <a:cubicBezTo>
                      <a:pt x="0" y="64"/>
                      <a:pt x="1" y="99"/>
                      <a:pt x="8" y="116"/>
                    </a:cubicBezTo>
                    <a:cubicBezTo>
                      <a:pt x="15" y="133"/>
                      <a:pt x="43" y="142"/>
                      <a:pt x="52" y="150"/>
                    </a:cubicBezTo>
                    <a:cubicBezTo>
                      <a:pt x="61" y="158"/>
                      <a:pt x="61" y="162"/>
                      <a:pt x="64" y="165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602" name="Line 112"/>
              <p:cNvSpPr>
                <a:spLocks noChangeAspect="1" noChangeShapeType="1"/>
              </p:cNvSpPr>
              <p:nvPr/>
            </p:nvSpPr>
            <p:spPr bwMode="auto">
              <a:xfrm flipV="1">
                <a:off x="1000" y="1291"/>
                <a:ext cx="189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3" name="Line 113"/>
              <p:cNvSpPr>
                <a:spLocks noChangeAspect="1" noChangeShapeType="1"/>
              </p:cNvSpPr>
              <p:nvPr/>
            </p:nvSpPr>
            <p:spPr bwMode="auto">
              <a:xfrm flipV="1">
                <a:off x="999" y="1259"/>
                <a:ext cx="1902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4" name="Line 114"/>
              <p:cNvSpPr>
                <a:spLocks noChangeAspect="1" noChangeShapeType="1"/>
              </p:cNvSpPr>
              <p:nvPr/>
            </p:nvSpPr>
            <p:spPr bwMode="auto">
              <a:xfrm flipV="1">
                <a:off x="1011" y="1244"/>
                <a:ext cx="1884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5" name="Line 115"/>
              <p:cNvSpPr>
                <a:spLocks noChangeAspect="1" noChangeShapeType="1"/>
              </p:cNvSpPr>
              <p:nvPr/>
            </p:nvSpPr>
            <p:spPr bwMode="auto">
              <a:xfrm flipV="1">
                <a:off x="1019" y="1305"/>
                <a:ext cx="1868" cy="7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6" name="Freeform 116"/>
              <p:cNvSpPr>
                <a:spLocks noChangeAspect="1"/>
              </p:cNvSpPr>
              <p:nvPr/>
            </p:nvSpPr>
            <p:spPr bwMode="auto">
              <a:xfrm>
                <a:off x="774" y="1937"/>
                <a:ext cx="205" cy="23"/>
              </a:xfrm>
              <a:custGeom>
                <a:avLst/>
                <a:gdLst>
                  <a:gd name="T0" fmla="*/ 1 w 329"/>
                  <a:gd name="T1" fmla="*/ 1 h 37"/>
                  <a:gd name="T2" fmla="*/ 1 w 329"/>
                  <a:gd name="T3" fmla="*/ 1 h 37"/>
                  <a:gd name="T4" fmla="*/ 1 w 329"/>
                  <a:gd name="T5" fmla="*/ 1 h 37"/>
                  <a:gd name="T6" fmla="*/ 1 w 329"/>
                  <a:gd name="T7" fmla="*/ 1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29"/>
                  <a:gd name="T13" fmla="*/ 0 h 37"/>
                  <a:gd name="T14" fmla="*/ 329 w 329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29" h="37">
                    <a:moveTo>
                      <a:pt x="329" y="35"/>
                    </a:moveTo>
                    <a:cubicBezTo>
                      <a:pt x="282" y="35"/>
                      <a:pt x="94" y="37"/>
                      <a:pt x="47" y="32"/>
                    </a:cubicBezTo>
                    <a:cubicBezTo>
                      <a:pt x="0" y="27"/>
                      <a:pt x="0" y="10"/>
                      <a:pt x="47" y="5"/>
                    </a:cubicBezTo>
                    <a:cubicBezTo>
                      <a:pt x="94" y="0"/>
                      <a:pt x="270" y="3"/>
                      <a:pt x="328" y="2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7" name="Freeform 117"/>
              <p:cNvSpPr>
                <a:spLocks noChangeAspect="1"/>
              </p:cNvSpPr>
              <p:nvPr/>
            </p:nvSpPr>
            <p:spPr bwMode="auto">
              <a:xfrm>
                <a:off x="966" y="1904"/>
                <a:ext cx="98" cy="86"/>
              </a:xfrm>
              <a:custGeom>
                <a:avLst/>
                <a:gdLst>
                  <a:gd name="T0" fmla="*/ 0 w 157"/>
                  <a:gd name="T1" fmla="*/ 1 h 137"/>
                  <a:gd name="T2" fmla="*/ 1 w 157"/>
                  <a:gd name="T3" fmla="*/ 1 h 137"/>
                  <a:gd name="T4" fmla="*/ 1 w 157"/>
                  <a:gd name="T5" fmla="*/ 1 h 137"/>
                  <a:gd name="T6" fmla="*/ 1 w 157"/>
                  <a:gd name="T7" fmla="*/ 1 h 137"/>
                  <a:gd name="T8" fmla="*/ 1 w 157"/>
                  <a:gd name="T9" fmla="*/ 1 h 137"/>
                  <a:gd name="T10" fmla="*/ 1 w 157"/>
                  <a:gd name="T11" fmla="*/ 1 h 137"/>
                  <a:gd name="T12" fmla="*/ 1 w 157"/>
                  <a:gd name="T13" fmla="*/ 1 h 137"/>
                  <a:gd name="T14" fmla="*/ 1 w 157"/>
                  <a:gd name="T15" fmla="*/ 1 h 137"/>
                  <a:gd name="T16" fmla="*/ 1 w 157"/>
                  <a:gd name="T17" fmla="*/ 1 h 137"/>
                  <a:gd name="T18" fmla="*/ 0 w 157"/>
                  <a:gd name="T19" fmla="*/ 1 h 13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57"/>
                  <a:gd name="T31" fmla="*/ 0 h 137"/>
                  <a:gd name="T32" fmla="*/ 157 w 157"/>
                  <a:gd name="T33" fmla="*/ 137 h 13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57" h="137">
                    <a:moveTo>
                      <a:pt x="0" y="90"/>
                    </a:moveTo>
                    <a:cubicBezTo>
                      <a:pt x="2" y="93"/>
                      <a:pt x="5" y="102"/>
                      <a:pt x="11" y="107"/>
                    </a:cubicBezTo>
                    <a:cubicBezTo>
                      <a:pt x="17" y="112"/>
                      <a:pt x="31" y="114"/>
                      <a:pt x="39" y="119"/>
                    </a:cubicBezTo>
                    <a:cubicBezTo>
                      <a:pt x="47" y="124"/>
                      <a:pt x="41" y="137"/>
                      <a:pt x="57" y="135"/>
                    </a:cubicBezTo>
                    <a:cubicBezTo>
                      <a:pt x="73" y="133"/>
                      <a:pt x="124" y="121"/>
                      <a:pt x="138" y="105"/>
                    </a:cubicBezTo>
                    <a:cubicBezTo>
                      <a:pt x="152" y="89"/>
                      <a:pt x="157" y="58"/>
                      <a:pt x="143" y="41"/>
                    </a:cubicBezTo>
                    <a:cubicBezTo>
                      <a:pt x="129" y="24"/>
                      <a:pt x="74" y="6"/>
                      <a:pt x="56" y="3"/>
                    </a:cubicBezTo>
                    <a:cubicBezTo>
                      <a:pt x="38" y="0"/>
                      <a:pt x="42" y="17"/>
                      <a:pt x="35" y="23"/>
                    </a:cubicBezTo>
                    <a:cubicBezTo>
                      <a:pt x="28" y="29"/>
                      <a:pt x="17" y="33"/>
                      <a:pt x="11" y="38"/>
                    </a:cubicBezTo>
                    <a:cubicBezTo>
                      <a:pt x="5" y="43"/>
                      <a:pt x="2" y="51"/>
                      <a:pt x="0" y="5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8" name="Line 118"/>
              <p:cNvSpPr>
                <a:spLocks noChangeAspect="1" noChangeShapeType="1"/>
              </p:cNvSpPr>
              <p:nvPr/>
            </p:nvSpPr>
            <p:spPr bwMode="auto">
              <a:xfrm>
                <a:off x="981" y="1937"/>
                <a:ext cx="0" cy="21"/>
              </a:xfrm>
              <a:prstGeom prst="line">
                <a:avLst/>
              </a:pr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09" name="Freeform 119"/>
              <p:cNvSpPr>
                <a:spLocks noChangeAspect="1"/>
              </p:cNvSpPr>
              <p:nvPr/>
            </p:nvSpPr>
            <p:spPr bwMode="auto">
              <a:xfrm>
                <a:off x="984" y="1915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0" name="Freeform 120"/>
              <p:cNvSpPr>
                <a:spLocks noChangeAspect="1"/>
              </p:cNvSpPr>
              <p:nvPr/>
            </p:nvSpPr>
            <p:spPr bwMode="auto">
              <a:xfrm flipV="1">
                <a:off x="984" y="1958"/>
                <a:ext cx="46" cy="23"/>
              </a:xfrm>
              <a:custGeom>
                <a:avLst/>
                <a:gdLst>
                  <a:gd name="T0" fmla="*/ 0 w 73"/>
                  <a:gd name="T1" fmla="*/ 1 h 36"/>
                  <a:gd name="T2" fmla="*/ 1 w 73"/>
                  <a:gd name="T3" fmla="*/ 1 h 36"/>
                  <a:gd name="T4" fmla="*/ 1 w 73"/>
                  <a:gd name="T5" fmla="*/ 0 h 36"/>
                  <a:gd name="T6" fmla="*/ 0 60000 65536"/>
                  <a:gd name="T7" fmla="*/ 0 60000 65536"/>
                  <a:gd name="T8" fmla="*/ 0 60000 65536"/>
                  <a:gd name="T9" fmla="*/ 0 w 73"/>
                  <a:gd name="T10" fmla="*/ 0 h 36"/>
                  <a:gd name="T11" fmla="*/ 73 w 73"/>
                  <a:gd name="T12" fmla="*/ 36 h 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3" h="36">
                    <a:moveTo>
                      <a:pt x="0" y="36"/>
                    </a:moveTo>
                    <a:cubicBezTo>
                      <a:pt x="5" y="35"/>
                      <a:pt x="18" y="36"/>
                      <a:pt x="30" y="30"/>
                    </a:cubicBezTo>
                    <a:cubicBezTo>
                      <a:pt x="42" y="24"/>
                      <a:pt x="64" y="6"/>
                      <a:pt x="73" y="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10800000"/>
              <a:lstStyle/>
              <a:p>
                <a:endParaRPr lang="en-US"/>
              </a:p>
            </p:txBody>
          </p:sp>
          <p:sp>
            <p:nvSpPr>
              <p:cNvPr id="20611" name="Freeform 121"/>
              <p:cNvSpPr>
                <a:spLocks noChangeAspect="1"/>
              </p:cNvSpPr>
              <p:nvPr/>
            </p:nvSpPr>
            <p:spPr bwMode="auto">
              <a:xfrm>
                <a:off x="94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2" name="Freeform 122"/>
              <p:cNvSpPr>
                <a:spLocks noChangeAspect="1"/>
              </p:cNvSpPr>
              <p:nvPr/>
            </p:nvSpPr>
            <p:spPr bwMode="auto">
              <a:xfrm>
                <a:off x="916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3" name="Freeform 123"/>
              <p:cNvSpPr>
                <a:spLocks noChangeAspect="1"/>
              </p:cNvSpPr>
              <p:nvPr/>
            </p:nvSpPr>
            <p:spPr bwMode="auto">
              <a:xfrm>
                <a:off x="887" y="1940"/>
                <a:ext cx="20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4" name="Freeform 124"/>
              <p:cNvSpPr>
                <a:spLocks noChangeAspect="1"/>
              </p:cNvSpPr>
              <p:nvPr/>
            </p:nvSpPr>
            <p:spPr bwMode="auto">
              <a:xfrm>
                <a:off x="860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5" name="Freeform 125"/>
              <p:cNvSpPr>
                <a:spLocks noChangeAspect="1"/>
              </p:cNvSpPr>
              <p:nvPr/>
            </p:nvSpPr>
            <p:spPr bwMode="auto">
              <a:xfrm>
                <a:off x="828" y="1940"/>
                <a:ext cx="21" cy="19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6" name="Freeform 126"/>
              <p:cNvSpPr>
                <a:spLocks noChangeAspect="1"/>
              </p:cNvSpPr>
              <p:nvPr/>
            </p:nvSpPr>
            <p:spPr bwMode="auto">
              <a:xfrm>
                <a:off x="803" y="1940"/>
                <a:ext cx="17" cy="17"/>
              </a:xfrm>
              <a:custGeom>
                <a:avLst/>
                <a:gdLst>
                  <a:gd name="T0" fmla="*/ 1 w 33"/>
                  <a:gd name="T1" fmla="*/ 0 h 30"/>
                  <a:gd name="T2" fmla="*/ 1 w 33"/>
                  <a:gd name="T3" fmla="*/ 1 h 30"/>
                  <a:gd name="T4" fmla="*/ 1 w 33"/>
                  <a:gd name="T5" fmla="*/ 1 h 30"/>
                  <a:gd name="T6" fmla="*/ 0 w 33"/>
                  <a:gd name="T7" fmla="*/ 1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3"/>
                  <a:gd name="T13" fmla="*/ 0 h 30"/>
                  <a:gd name="T14" fmla="*/ 33 w 33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3" h="30">
                    <a:moveTo>
                      <a:pt x="33" y="0"/>
                    </a:moveTo>
                    <a:cubicBezTo>
                      <a:pt x="31" y="1"/>
                      <a:pt x="23" y="6"/>
                      <a:pt x="20" y="9"/>
                    </a:cubicBezTo>
                    <a:cubicBezTo>
                      <a:pt x="17" y="12"/>
                      <a:pt x="15" y="18"/>
                      <a:pt x="12" y="21"/>
                    </a:cubicBezTo>
                    <a:cubicBezTo>
                      <a:pt x="9" y="24"/>
                      <a:pt x="2" y="28"/>
                      <a:pt x="0" y="30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617" name="Freeform 127"/>
              <p:cNvSpPr>
                <a:spLocks noChangeAspect="1"/>
              </p:cNvSpPr>
              <p:nvPr/>
            </p:nvSpPr>
            <p:spPr bwMode="auto">
              <a:xfrm>
                <a:off x="666" y="1224"/>
                <a:ext cx="95" cy="1429"/>
              </a:xfrm>
              <a:custGeom>
                <a:avLst/>
                <a:gdLst>
                  <a:gd name="T0" fmla="*/ 1 w 160"/>
                  <a:gd name="T1" fmla="*/ 1 h 2429"/>
                  <a:gd name="T2" fmla="*/ 1 w 160"/>
                  <a:gd name="T3" fmla="*/ 1 h 2429"/>
                  <a:gd name="T4" fmla="*/ 1 w 160"/>
                  <a:gd name="T5" fmla="*/ 1 h 2429"/>
                  <a:gd name="T6" fmla="*/ 1 w 160"/>
                  <a:gd name="T7" fmla="*/ 1 h 2429"/>
                  <a:gd name="T8" fmla="*/ 1 w 160"/>
                  <a:gd name="T9" fmla="*/ 1 h 2429"/>
                  <a:gd name="T10" fmla="*/ 1 w 160"/>
                  <a:gd name="T11" fmla="*/ 1 h 2429"/>
                  <a:gd name="T12" fmla="*/ 1 w 160"/>
                  <a:gd name="T13" fmla="*/ 1 h 24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0"/>
                  <a:gd name="T22" fmla="*/ 0 h 2429"/>
                  <a:gd name="T23" fmla="*/ 160 w 160"/>
                  <a:gd name="T24" fmla="*/ 2429 h 24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0" h="2429">
                    <a:moveTo>
                      <a:pt x="160" y="2423"/>
                    </a:moveTo>
                    <a:cubicBezTo>
                      <a:pt x="146" y="2413"/>
                      <a:pt x="100" y="2429"/>
                      <a:pt x="78" y="2365"/>
                    </a:cubicBezTo>
                    <a:cubicBezTo>
                      <a:pt x="56" y="2301"/>
                      <a:pt x="43" y="2229"/>
                      <a:pt x="30" y="2038"/>
                    </a:cubicBezTo>
                    <a:cubicBezTo>
                      <a:pt x="17" y="1847"/>
                      <a:pt x="4" y="1491"/>
                      <a:pt x="2" y="1217"/>
                    </a:cubicBezTo>
                    <a:cubicBezTo>
                      <a:pt x="0" y="943"/>
                      <a:pt x="8" y="584"/>
                      <a:pt x="21" y="392"/>
                    </a:cubicBezTo>
                    <a:cubicBezTo>
                      <a:pt x="34" y="200"/>
                      <a:pt x="55" y="130"/>
                      <a:pt x="78" y="65"/>
                    </a:cubicBezTo>
                    <a:cubicBezTo>
                      <a:pt x="101" y="0"/>
                      <a:pt x="143" y="17"/>
                      <a:pt x="160" y="4"/>
                    </a:cubicBezTo>
                  </a:path>
                </a:pathLst>
              </a:custGeom>
              <a:noFill/>
              <a:ln w="9525">
                <a:solidFill>
                  <a:srgbClr val="77777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9" name="그룹 107"/>
            <p:cNvGrpSpPr>
              <a:grpSpLocks/>
            </p:cNvGrpSpPr>
            <p:nvPr/>
          </p:nvGrpSpPr>
          <p:grpSpPr bwMode="auto">
            <a:xfrm>
              <a:off x="2030116" y="4453396"/>
              <a:ext cx="279212" cy="242675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0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1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2" name="그룹 107"/>
            <p:cNvGrpSpPr>
              <a:grpSpLocks/>
            </p:cNvGrpSpPr>
            <p:nvPr/>
          </p:nvGrpSpPr>
          <p:grpSpPr bwMode="auto">
            <a:xfrm rot="10800000">
              <a:off x="3898893" y="4438462"/>
              <a:ext cx="279212" cy="246408"/>
              <a:chOff x="1665463" y="5157193"/>
              <a:chExt cx="407217" cy="288032"/>
            </a:xfrm>
            <a:solidFill>
              <a:srgbClr val="FFFF00"/>
            </a:solidFill>
          </p:grpSpPr>
          <p:sp>
            <p:nvSpPr>
              <p:cNvPr id="113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  <p:sp>
            <p:nvSpPr>
              <p:cNvPr id="114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grpFill/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1pPr>
                <a:lvl2pPr marL="742950" indent="-28575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2pPr>
                <a:lvl3pPr marL="11430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3pPr>
                <a:lvl4pPr marL="16002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4pPr>
                <a:lvl5pPr marL="2057400" indent="-228600" eaLnBrk="0" hangingPunct="0"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1300" b="1">
                    <a:solidFill>
                      <a:schemeClr val="tx1"/>
                    </a:solidFill>
                    <a:latin typeface="Arial" panose="020B0604020202020204" pitchFamily="34" charset="0"/>
                    <a:ea typeface="굴림" panose="020B0600000101010101" pitchFamily="50" charset="-127"/>
                  </a:defRPr>
                </a:lvl9pPr>
              </a:lstStyle>
              <a:p>
                <a:pPr algn="ctr" eaLnBrk="1" hangingPunct="1">
                  <a:defRPr/>
                </a:pPr>
                <a:endParaRPr lang="ko-KR" altLang="en-US" sz="1000" dirty="0" smtClean="0">
                  <a:ea typeface="돋움" panose="020B0600000101010101" pitchFamily="50" charset="-127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0509" name="그룹 107"/>
            <p:cNvGrpSpPr>
              <a:grpSpLocks/>
            </p:cNvGrpSpPr>
            <p:nvPr/>
          </p:nvGrpSpPr>
          <p:grpSpPr bwMode="auto">
            <a:xfrm rot="5400000">
              <a:off x="3017029" y="3892239"/>
              <a:ext cx="362146" cy="185218"/>
              <a:chOff x="1665463" y="5157193"/>
              <a:chExt cx="407217" cy="288032"/>
            </a:xfrm>
          </p:grpSpPr>
          <p:sp>
            <p:nvSpPr>
              <p:cNvPr id="20516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20517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grpSp>
          <p:nvGrpSpPr>
            <p:cNvPr id="20510" name="그룹 107"/>
            <p:cNvGrpSpPr>
              <a:grpSpLocks/>
            </p:cNvGrpSpPr>
            <p:nvPr/>
          </p:nvGrpSpPr>
          <p:grpSpPr bwMode="auto">
            <a:xfrm rot="-5400000">
              <a:off x="3017029" y="5057075"/>
              <a:ext cx="362146" cy="185218"/>
              <a:chOff x="1665463" y="5157193"/>
              <a:chExt cx="407217" cy="288032"/>
            </a:xfrm>
          </p:grpSpPr>
          <p:sp>
            <p:nvSpPr>
              <p:cNvPr id="20514" name="이등변 삼각형 190"/>
              <p:cNvSpPr>
                <a:spLocks noChangeArrowheads="1"/>
              </p:cNvSpPr>
              <p:nvPr/>
            </p:nvSpPr>
            <p:spPr bwMode="auto">
              <a:xfrm rot="5400000">
                <a:off x="1647482" y="5188830"/>
                <a:ext cx="260720" cy="224758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vert="eaVert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  <p:sp>
            <p:nvSpPr>
              <p:cNvPr id="20515" name="직사각형 191"/>
              <p:cNvSpPr>
                <a:spLocks noChangeArrowheads="1"/>
              </p:cNvSpPr>
              <p:nvPr/>
            </p:nvSpPr>
            <p:spPr bwMode="auto">
              <a:xfrm>
                <a:off x="1784648" y="5157193"/>
                <a:ext cx="288032" cy="288032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</p:spPr>
            <p:txBody>
              <a:bodyPr rot="10800000" wrap="none" anchor="ctr"/>
              <a:lstStyle>
                <a:lvl1pPr>
                  <a:lnSpc>
                    <a:spcPct val="94000"/>
                  </a:lnSpc>
                  <a:spcAft>
                    <a:spcPts val="142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8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1pPr>
                <a:lvl2pPr>
                  <a:lnSpc>
                    <a:spcPct val="94000"/>
                  </a:lnSpc>
                  <a:spcAft>
                    <a:spcPts val="1138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2pPr>
                <a:lvl3pPr>
                  <a:lnSpc>
                    <a:spcPct val="94000"/>
                  </a:lnSpc>
                  <a:spcAft>
                    <a:spcPts val="850"/>
                  </a:spcAft>
                  <a:buClr>
                    <a:srgbClr val="000000"/>
                  </a:buClr>
                  <a:buSzPct val="100000"/>
                  <a:buFont typeface="Times New Roman" charset="0"/>
                  <a:defRPr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3pPr>
                <a:lvl4pPr>
                  <a:lnSpc>
                    <a:spcPct val="94000"/>
                  </a:lnSpc>
                  <a:spcAft>
                    <a:spcPts val="575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4pPr>
                <a:lvl5pPr>
                  <a:lnSpc>
                    <a:spcPct val="94000"/>
                  </a:lnSpc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5pPr>
                <a:lvl6pPr marL="25146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6pPr>
                <a:lvl7pPr marL="29718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7pPr>
                <a:lvl8pPr marL="34290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8pPr>
                <a:lvl9pPr marL="3886200" indent="-228600" defTabSz="457200" eaLnBrk="0" fontAlgn="base" hangingPunct="0">
                  <a:lnSpc>
                    <a:spcPct val="94000"/>
                  </a:lnSpc>
                  <a:spcBef>
                    <a:spcPct val="0"/>
                  </a:spcBef>
                  <a:spcAft>
                    <a:spcPts val="288"/>
                  </a:spcAft>
                  <a:buClr>
                    <a:srgbClr val="000000"/>
                  </a:buClr>
                  <a:buSzPct val="100000"/>
                  <a:buFont typeface="Times New Roman" charset="0"/>
                  <a:defRPr sz="2000">
                    <a:solidFill>
                      <a:srgbClr val="000000"/>
                    </a:solidFill>
                    <a:latin typeface="Verdana" charset="0"/>
                    <a:ea typeface="Verdana" charset="0"/>
                    <a:cs typeface="Verdana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ClrTx/>
                  <a:buSzTx/>
                  <a:buFontTx/>
                  <a:buNone/>
                </a:pPr>
                <a:endParaRPr kumimoji="1" lang="ko-KR" altLang="en-US" sz="1000" b="1">
                  <a:solidFill>
                    <a:schemeClr val="tx1"/>
                  </a:solidFill>
                  <a:latin typeface="Arial" charset="0"/>
                  <a:ea typeface="돋움" charset="-127"/>
                  <a:cs typeface="Arial" charset="0"/>
                </a:endParaRPr>
              </a:p>
            </p:txBody>
          </p:sp>
        </p:grpSp>
        <p:sp>
          <p:nvSpPr>
            <p:cNvPr id="20511" name="Oval 26"/>
            <p:cNvSpPr>
              <a:spLocks noChangeAspect="1" noChangeArrowheads="1"/>
            </p:cNvSpPr>
            <p:nvPr/>
          </p:nvSpPr>
          <p:spPr bwMode="auto">
            <a:xfrm rot="5400000">
              <a:off x="1143152" y="4146513"/>
              <a:ext cx="1743519" cy="826574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rot="10800000" vert="eaVert"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20512" name="Oval 129"/>
            <p:cNvSpPr>
              <a:spLocks noChangeAspect="1" noChangeArrowheads="1"/>
            </p:cNvSpPr>
            <p:nvPr/>
          </p:nvSpPr>
          <p:spPr bwMode="auto">
            <a:xfrm>
              <a:off x="2168339" y="4785674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  <p:sp>
          <p:nvSpPr>
            <p:cNvPr id="20513" name="Oval 130"/>
            <p:cNvSpPr>
              <a:spLocks noChangeAspect="1" noChangeArrowheads="1"/>
            </p:cNvSpPr>
            <p:nvPr/>
          </p:nvSpPr>
          <p:spPr bwMode="auto">
            <a:xfrm>
              <a:off x="2168339" y="3381897"/>
              <a:ext cx="1907480" cy="925895"/>
            </a:xfrm>
            <a:prstGeom prst="ellipse">
              <a:avLst/>
            </a:prstGeom>
            <a:solidFill>
              <a:schemeClr val="folHlink">
                <a:alpha val="30196"/>
              </a:schemeClr>
            </a:solidFill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wrap="none" anchor="ctr"/>
            <a:lstStyle>
              <a:lvl1pPr>
                <a:lnSpc>
                  <a:spcPct val="94000"/>
                </a:lnSpc>
                <a:spcAft>
                  <a:spcPts val="1425"/>
                </a:spcAft>
                <a:buClr>
                  <a:srgbClr val="000000"/>
                </a:buClr>
                <a:buSzPct val="100000"/>
                <a:buFont typeface="Times New Roman" charset="0"/>
                <a:defRPr sz="28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1pPr>
              <a:lvl2pPr>
                <a:lnSpc>
                  <a:spcPct val="94000"/>
                </a:lnSpc>
                <a:spcAft>
                  <a:spcPts val="1138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2pPr>
              <a:lvl3pPr>
                <a:lnSpc>
                  <a:spcPct val="94000"/>
                </a:lnSpc>
                <a:spcAft>
                  <a:spcPts val="850"/>
                </a:spcAft>
                <a:buClr>
                  <a:srgbClr val="000000"/>
                </a:buClr>
                <a:buSzPct val="100000"/>
                <a:buFont typeface="Times New Roman" charset="0"/>
                <a:defRPr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3pPr>
              <a:lvl4pPr>
                <a:lnSpc>
                  <a:spcPct val="94000"/>
                </a:lnSpc>
                <a:spcAft>
                  <a:spcPts val="575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4pPr>
              <a:lvl5pPr>
                <a:lnSpc>
                  <a:spcPct val="94000"/>
                </a:lnSpc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5pPr>
              <a:lvl6pPr marL="25146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6pPr>
              <a:lvl7pPr marL="29718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7pPr>
              <a:lvl8pPr marL="34290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8pPr>
              <a:lvl9pPr marL="3886200" indent="-228600" defTabSz="457200" eaLnBrk="0" fontAlgn="base" hangingPunct="0">
                <a:lnSpc>
                  <a:spcPct val="94000"/>
                </a:lnSpc>
                <a:spcBef>
                  <a:spcPct val="0"/>
                </a:spcBef>
                <a:spcAft>
                  <a:spcPts val="288"/>
                </a:spcAft>
                <a:buClr>
                  <a:srgbClr val="000000"/>
                </a:buClr>
                <a:buSzPct val="100000"/>
                <a:buFont typeface="Times New Roman" charset="0"/>
                <a:defRPr sz="2000">
                  <a:solidFill>
                    <a:srgbClr val="000000"/>
                  </a:solidFill>
                  <a:latin typeface="Verdana" charset="0"/>
                  <a:ea typeface="Verdana" charset="0"/>
                  <a:cs typeface="Verdana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</a:pPr>
              <a:endParaRPr kumimoji="1" lang="ko-KR" altLang="en-US" sz="1400">
                <a:solidFill>
                  <a:schemeClr val="tx1"/>
                </a:solidFill>
                <a:latin typeface="맑은 고딕" charset="-127"/>
                <a:ea typeface="맑은 고딕" charset="-127"/>
                <a:cs typeface="가는둥근제목체" charset="0"/>
              </a:endParaRPr>
            </a:p>
          </p:txBody>
        </p:sp>
      </p:grpSp>
      <p:cxnSp>
        <p:nvCxnSpPr>
          <p:cNvPr id="20485" name="직선 연결선 12287"/>
          <p:cNvCxnSpPr>
            <a:cxnSpLocks noChangeShapeType="1"/>
          </p:cNvCxnSpPr>
          <p:nvPr/>
        </p:nvCxnSpPr>
        <p:spPr bwMode="auto">
          <a:xfrm>
            <a:off x="365125" y="3876675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86" name="직선 연결선 332"/>
          <p:cNvCxnSpPr>
            <a:cxnSpLocks noChangeShapeType="1"/>
          </p:cNvCxnSpPr>
          <p:nvPr/>
        </p:nvCxnSpPr>
        <p:spPr bwMode="auto">
          <a:xfrm>
            <a:off x="365125" y="3084513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87" name="직선 연결선 334"/>
          <p:cNvCxnSpPr>
            <a:cxnSpLocks noChangeShapeType="1"/>
          </p:cNvCxnSpPr>
          <p:nvPr/>
        </p:nvCxnSpPr>
        <p:spPr bwMode="auto">
          <a:xfrm>
            <a:off x="365125" y="2400300"/>
            <a:ext cx="5580063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88" name="Freeform 29"/>
          <p:cNvSpPr>
            <a:spLocks noEditPoints="1"/>
          </p:cNvSpPr>
          <p:nvPr/>
        </p:nvSpPr>
        <p:spPr bwMode="auto">
          <a:xfrm>
            <a:off x="3286125" y="2652713"/>
            <a:ext cx="844550" cy="268287"/>
          </a:xfrm>
          <a:custGeom>
            <a:avLst/>
            <a:gdLst>
              <a:gd name="T0" fmla="*/ 2147483646 w 265"/>
              <a:gd name="T1" fmla="*/ 2147483646 h 84"/>
              <a:gd name="T2" fmla="*/ 2147483646 w 265"/>
              <a:gd name="T3" fmla="*/ 2147483646 h 84"/>
              <a:gd name="T4" fmla="*/ 2147483646 w 265"/>
              <a:gd name="T5" fmla="*/ 2147483646 h 84"/>
              <a:gd name="T6" fmla="*/ 2147483646 w 265"/>
              <a:gd name="T7" fmla="*/ 2147483646 h 84"/>
              <a:gd name="T8" fmla="*/ 2147483646 w 265"/>
              <a:gd name="T9" fmla="*/ 2147483646 h 84"/>
              <a:gd name="T10" fmla="*/ 2147483646 w 265"/>
              <a:gd name="T11" fmla="*/ 2147483646 h 84"/>
              <a:gd name="T12" fmla="*/ 2147483646 w 265"/>
              <a:gd name="T13" fmla="*/ 0 h 84"/>
              <a:gd name="T14" fmla="*/ 2147483646 w 265"/>
              <a:gd name="T15" fmla="*/ 0 h 84"/>
              <a:gd name="T16" fmla="*/ 2147483646 w 265"/>
              <a:gd name="T17" fmla="*/ 2147483646 h 84"/>
              <a:gd name="T18" fmla="*/ 2147483646 w 265"/>
              <a:gd name="T19" fmla="*/ 2147483646 h 84"/>
              <a:gd name="T20" fmla="*/ 2147483646 w 265"/>
              <a:gd name="T21" fmla="*/ 2147483646 h 84"/>
              <a:gd name="T22" fmla="*/ 2147483646 w 265"/>
              <a:gd name="T23" fmla="*/ 2147483646 h 84"/>
              <a:gd name="T24" fmla="*/ 2147483646 w 265"/>
              <a:gd name="T25" fmla="*/ 2147483646 h 84"/>
              <a:gd name="T26" fmla="*/ 2147483646 w 265"/>
              <a:gd name="T27" fmla="*/ 2147483646 h 84"/>
              <a:gd name="T28" fmla="*/ 2147483646 w 265"/>
              <a:gd name="T29" fmla="*/ 2147483646 h 84"/>
              <a:gd name="T30" fmla="*/ 2147483646 w 265"/>
              <a:gd name="T31" fmla="*/ 2147483646 h 84"/>
              <a:gd name="T32" fmla="*/ 2147483646 w 265"/>
              <a:gd name="T33" fmla="*/ 2147483646 h 84"/>
              <a:gd name="T34" fmla="*/ 2147483646 w 265"/>
              <a:gd name="T35" fmla="*/ 2147483646 h 84"/>
              <a:gd name="T36" fmla="*/ 2147483646 w 265"/>
              <a:gd name="T37" fmla="*/ 2147483646 h 84"/>
              <a:gd name="T38" fmla="*/ 2147483646 w 265"/>
              <a:gd name="T39" fmla="*/ 2147483646 h 84"/>
              <a:gd name="T40" fmla="*/ 2147483646 w 265"/>
              <a:gd name="T41" fmla="*/ 2147483646 h 84"/>
              <a:gd name="T42" fmla="*/ 2147483646 w 265"/>
              <a:gd name="T43" fmla="*/ 2147483646 h 84"/>
              <a:gd name="T44" fmla="*/ 2147483646 w 265"/>
              <a:gd name="T45" fmla="*/ 2147483646 h 84"/>
              <a:gd name="T46" fmla="*/ 2147483646 w 265"/>
              <a:gd name="T47" fmla="*/ 2147483646 h 84"/>
              <a:gd name="T48" fmla="*/ 2147483646 w 265"/>
              <a:gd name="T49" fmla="*/ 2147483646 h 84"/>
              <a:gd name="T50" fmla="*/ 2147483646 w 265"/>
              <a:gd name="T51" fmla="*/ 2147483646 h 84"/>
              <a:gd name="T52" fmla="*/ 2147483646 w 265"/>
              <a:gd name="T53" fmla="*/ 2147483646 h 84"/>
              <a:gd name="T54" fmla="*/ 2147483646 w 265"/>
              <a:gd name="T55" fmla="*/ 2147483646 h 84"/>
              <a:gd name="T56" fmla="*/ 2147483646 w 265"/>
              <a:gd name="T57" fmla="*/ 2147483646 h 84"/>
              <a:gd name="T58" fmla="*/ 2147483646 w 265"/>
              <a:gd name="T59" fmla="*/ 2147483646 h 84"/>
              <a:gd name="T60" fmla="*/ 2147483646 w 265"/>
              <a:gd name="T61" fmla="*/ 2147483646 h 84"/>
              <a:gd name="T62" fmla="*/ 2147483646 w 265"/>
              <a:gd name="T63" fmla="*/ 2147483646 h 84"/>
              <a:gd name="T64" fmla="*/ 2147483646 w 265"/>
              <a:gd name="T65" fmla="*/ 2147483646 h 84"/>
              <a:gd name="T66" fmla="*/ 2147483646 w 265"/>
              <a:gd name="T67" fmla="*/ 2147483646 h 84"/>
              <a:gd name="T68" fmla="*/ 2147483646 w 265"/>
              <a:gd name="T69" fmla="*/ 2147483646 h 84"/>
              <a:gd name="T70" fmla="*/ 2147483646 w 265"/>
              <a:gd name="T71" fmla="*/ 2147483646 h 84"/>
              <a:gd name="T72" fmla="*/ 2147483646 w 265"/>
              <a:gd name="T73" fmla="*/ 2147483646 h 84"/>
              <a:gd name="T74" fmla="*/ 2147483646 w 265"/>
              <a:gd name="T75" fmla="*/ 2147483646 h 84"/>
              <a:gd name="T76" fmla="*/ 2147483646 w 265"/>
              <a:gd name="T77" fmla="*/ 2147483646 h 84"/>
              <a:gd name="T78" fmla="*/ 2147483646 w 265"/>
              <a:gd name="T79" fmla="*/ 2147483646 h 84"/>
              <a:gd name="T80" fmla="*/ 2147483646 w 265"/>
              <a:gd name="T81" fmla="*/ 2147483646 h 84"/>
              <a:gd name="T82" fmla="*/ 2147483646 w 265"/>
              <a:gd name="T83" fmla="*/ 2147483646 h 84"/>
              <a:gd name="T84" fmla="*/ 2147483646 w 265"/>
              <a:gd name="T85" fmla="*/ 2147483646 h 84"/>
              <a:gd name="T86" fmla="*/ 2147483646 w 265"/>
              <a:gd name="T87" fmla="*/ 2147483646 h 84"/>
              <a:gd name="T88" fmla="*/ 2147483646 w 265"/>
              <a:gd name="T89" fmla="*/ 2147483646 h 84"/>
              <a:gd name="T90" fmla="*/ 2147483646 w 265"/>
              <a:gd name="T91" fmla="*/ 2147483646 h 84"/>
              <a:gd name="T92" fmla="*/ 2147483646 w 265"/>
              <a:gd name="T93" fmla="*/ 2147483646 h 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65"/>
              <a:gd name="T142" fmla="*/ 0 h 84"/>
              <a:gd name="T143" fmla="*/ 265 w 265"/>
              <a:gd name="T144" fmla="*/ 84 h 8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65" h="84">
                <a:moveTo>
                  <a:pt x="260" y="57"/>
                </a:moveTo>
                <a:cubicBezTo>
                  <a:pt x="258" y="57"/>
                  <a:pt x="258" y="57"/>
                  <a:pt x="258" y="57"/>
                </a:cubicBezTo>
                <a:cubicBezTo>
                  <a:pt x="258" y="57"/>
                  <a:pt x="258" y="51"/>
                  <a:pt x="258" y="42"/>
                </a:cubicBezTo>
                <a:cubicBezTo>
                  <a:pt x="258" y="32"/>
                  <a:pt x="246" y="29"/>
                  <a:pt x="246" y="29"/>
                </a:cubicBezTo>
                <a:cubicBezTo>
                  <a:pt x="186" y="20"/>
                  <a:pt x="186" y="20"/>
                  <a:pt x="186" y="20"/>
                </a:cubicBezTo>
                <a:cubicBezTo>
                  <a:pt x="186" y="20"/>
                  <a:pt x="162" y="9"/>
                  <a:pt x="156" y="5"/>
                </a:cubicBezTo>
                <a:cubicBezTo>
                  <a:pt x="151" y="1"/>
                  <a:pt x="143" y="0"/>
                  <a:pt x="143" y="0"/>
                </a:cubicBezTo>
                <a:cubicBezTo>
                  <a:pt x="143" y="0"/>
                  <a:pt x="120" y="0"/>
                  <a:pt x="96" y="0"/>
                </a:cubicBezTo>
                <a:cubicBezTo>
                  <a:pt x="73" y="0"/>
                  <a:pt x="47" y="12"/>
                  <a:pt x="37" y="17"/>
                </a:cubicBezTo>
                <a:cubicBezTo>
                  <a:pt x="27" y="22"/>
                  <a:pt x="17" y="23"/>
                  <a:pt x="8" y="23"/>
                </a:cubicBezTo>
                <a:cubicBezTo>
                  <a:pt x="0" y="23"/>
                  <a:pt x="8" y="43"/>
                  <a:pt x="8" y="43"/>
                </a:cubicBezTo>
                <a:cubicBezTo>
                  <a:pt x="8" y="43"/>
                  <a:pt x="8" y="43"/>
                  <a:pt x="8" y="58"/>
                </a:cubicBezTo>
                <a:cubicBezTo>
                  <a:pt x="8" y="74"/>
                  <a:pt x="26" y="72"/>
                  <a:pt x="26" y="72"/>
                </a:cubicBezTo>
                <a:cubicBezTo>
                  <a:pt x="38" y="72"/>
                  <a:pt x="38" y="72"/>
                  <a:pt x="38" y="72"/>
                </a:cubicBezTo>
                <a:cubicBezTo>
                  <a:pt x="37" y="70"/>
                  <a:pt x="37" y="68"/>
                  <a:pt x="37" y="65"/>
                </a:cubicBezTo>
                <a:cubicBezTo>
                  <a:pt x="37" y="52"/>
                  <a:pt x="48" y="42"/>
                  <a:pt x="61" y="42"/>
                </a:cubicBezTo>
                <a:cubicBezTo>
                  <a:pt x="74" y="42"/>
                  <a:pt x="85" y="52"/>
                  <a:pt x="85" y="65"/>
                </a:cubicBezTo>
                <a:cubicBezTo>
                  <a:pt x="85" y="68"/>
                  <a:pt x="84" y="70"/>
                  <a:pt x="84" y="72"/>
                </a:cubicBezTo>
                <a:cubicBezTo>
                  <a:pt x="193" y="72"/>
                  <a:pt x="193" y="72"/>
                  <a:pt x="193" y="72"/>
                </a:cubicBezTo>
                <a:cubicBezTo>
                  <a:pt x="192" y="70"/>
                  <a:pt x="192" y="68"/>
                  <a:pt x="192" y="65"/>
                </a:cubicBezTo>
                <a:cubicBezTo>
                  <a:pt x="192" y="52"/>
                  <a:pt x="203" y="42"/>
                  <a:pt x="216" y="42"/>
                </a:cubicBezTo>
                <a:cubicBezTo>
                  <a:pt x="229" y="42"/>
                  <a:pt x="240" y="52"/>
                  <a:pt x="240" y="65"/>
                </a:cubicBezTo>
                <a:cubicBezTo>
                  <a:pt x="240" y="68"/>
                  <a:pt x="239" y="70"/>
                  <a:pt x="239" y="72"/>
                </a:cubicBezTo>
                <a:cubicBezTo>
                  <a:pt x="265" y="71"/>
                  <a:pt x="260" y="57"/>
                  <a:pt x="260" y="57"/>
                </a:cubicBezTo>
                <a:close/>
                <a:moveTo>
                  <a:pt x="73" y="22"/>
                </a:moveTo>
                <a:cubicBezTo>
                  <a:pt x="73" y="22"/>
                  <a:pt x="59" y="24"/>
                  <a:pt x="69" y="17"/>
                </a:cubicBezTo>
                <a:cubicBezTo>
                  <a:pt x="77" y="12"/>
                  <a:pt x="85" y="3"/>
                  <a:pt x="99" y="3"/>
                </a:cubicBezTo>
                <a:cubicBezTo>
                  <a:pt x="113" y="3"/>
                  <a:pt x="113" y="3"/>
                  <a:pt x="113" y="3"/>
                </a:cubicBezTo>
                <a:cubicBezTo>
                  <a:pt x="116" y="22"/>
                  <a:pt x="116" y="22"/>
                  <a:pt x="116" y="22"/>
                </a:cubicBezTo>
                <a:lnTo>
                  <a:pt x="73" y="22"/>
                </a:lnTo>
                <a:close/>
                <a:moveTo>
                  <a:pt x="167" y="22"/>
                </a:moveTo>
                <a:cubicBezTo>
                  <a:pt x="122" y="22"/>
                  <a:pt x="122" y="22"/>
                  <a:pt x="122" y="22"/>
                </a:cubicBezTo>
                <a:cubicBezTo>
                  <a:pt x="117" y="3"/>
                  <a:pt x="117" y="3"/>
                  <a:pt x="117" y="3"/>
                </a:cubicBezTo>
                <a:cubicBezTo>
                  <a:pt x="117" y="3"/>
                  <a:pt x="134" y="3"/>
                  <a:pt x="140" y="3"/>
                </a:cubicBezTo>
                <a:cubicBezTo>
                  <a:pt x="145" y="3"/>
                  <a:pt x="150" y="6"/>
                  <a:pt x="150" y="6"/>
                </a:cubicBezTo>
                <a:cubicBezTo>
                  <a:pt x="150" y="6"/>
                  <a:pt x="161" y="14"/>
                  <a:pt x="167" y="18"/>
                </a:cubicBezTo>
                <a:cubicBezTo>
                  <a:pt x="173" y="22"/>
                  <a:pt x="167" y="22"/>
                  <a:pt x="167" y="22"/>
                </a:cubicBezTo>
                <a:close/>
                <a:moveTo>
                  <a:pt x="61" y="47"/>
                </a:moveTo>
                <a:cubicBezTo>
                  <a:pt x="51" y="47"/>
                  <a:pt x="43" y="55"/>
                  <a:pt x="43" y="65"/>
                </a:cubicBezTo>
                <a:cubicBezTo>
                  <a:pt x="43" y="76"/>
                  <a:pt x="51" y="84"/>
                  <a:pt x="61" y="84"/>
                </a:cubicBezTo>
                <a:cubicBezTo>
                  <a:pt x="71" y="84"/>
                  <a:pt x="79" y="76"/>
                  <a:pt x="79" y="65"/>
                </a:cubicBezTo>
                <a:cubicBezTo>
                  <a:pt x="79" y="55"/>
                  <a:pt x="71" y="47"/>
                  <a:pt x="61" y="47"/>
                </a:cubicBezTo>
                <a:close/>
                <a:moveTo>
                  <a:pt x="216" y="47"/>
                </a:moveTo>
                <a:cubicBezTo>
                  <a:pt x="206" y="47"/>
                  <a:pt x="197" y="55"/>
                  <a:pt x="197" y="65"/>
                </a:cubicBezTo>
                <a:cubicBezTo>
                  <a:pt x="197" y="76"/>
                  <a:pt x="206" y="84"/>
                  <a:pt x="216" y="84"/>
                </a:cubicBezTo>
                <a:cubicBezTo>
                  <a:pt x="226" y="84"/>
                  <a:pt x="234" y="76"/>
                  <a:pt x="234" y="65"/>
                </a:cubicBezTo>
                <a:cubicBezTo>
                  <a:pt x="234" y="55"/>
                  <a:pt x="226" y="47"/>
                  <a:pt x="216" y="4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20489" name="Picture 100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2288" y="4224338"/>
            <a:ext cx="1147762" cy="1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490" name="그룹 133"/>
          <p:cNvGrpSpPr>
            <a:grpSpLocks/>
          </p:cNvGrpSpPr>
          <p:nvPr/>
        </p:nvGrpSpPr>
        <p:grpSpPr bwMode="auto">
          <a:xfrm>
            <a:off x="1463675" y="3659188"/>
            <a:ext cx="449263" cy="398462"/>
            <a:chOff x="3295650" y="4503738"/>
            <a:chExt cx="449263" cy="398462"/>
          </a:xfrm>
        </p:grpSpPr>
        <p:sp>
          <p:nvSpPr>
            <p:cNvPr id="575" name="원호 574"/>
            <p:cNvSpPr/>
            <p:nvPr/>
          </p:nvSpPr>
          <p:spPr bwMode="auto">
            <a:xfrm rot="866400">
              <a:off x="3295650" y="4503738"/>
              <a:ext cx="449263" cy="398462"/>
            </a:xfrm>
            <a:prstGeom prst="arc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576" name="원호 575"/>
            <p:cNvSpPr/>
            <p:nvPr/>
          </p:nvSpPr>
          <p:spPr bwMode="auto">
            <a:xfrm rot="866400">
              <a:off x="3346450" y="4533900"/>
              <a:ext cx="350838" cy="338138"/>
            </a:xfrm>
            <a:prstGeom prst="arc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577" name="원호 576"/>
            <p:cNvSpPr/>
            <p:nvPr/>
          </p:nvSpPr>
          <p:spPr bwMode="auto">
            <a:xfrm rot="866400">
              <a:off x="3395663" y="4573588"/>
              <a:ext cx="249237" cy="258762"/>
            </a:xfrm>
            <a:prstGeom prst="arc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  <p:sp>
          <p:nvSpPr>
            <p:cNvPr id="578" name="원호 577"/>
            <p:cNvSpPr/>
            <p:nvPr/>
          </p:nvSpPr>
          <p:spPr bwMode="auto">
            <a:xfrm rot="866400">
              <a:off x="3444875" y="4625975"/>
              <a:ext cx="150813" cy="153988"/>
            </a:xfrm>
            <a:prstGeom prst="arc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6000" tIns="18000" rIns="36000" bIns="18000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ct val="50000"/>
                </a:spcBef>
                <a:buFont typeface="Wingdings" pitchFamily="2" charset="2"/>
                <a:buNone/>
                <a:defRPr/>
              </a:pPr>
              <a:endParaRPr lang="ko-KR" altLang="en-US" dirty="0">
                <a:latin typeface="Calibri" panose="020F0502020204030204" pitchFamily="34" charset="0"/>
                <a:ea typeface="가는둥근제목체" pitchFamily="18" charset="-127"/>
              </a:endParaRPr>
            </a:p>
          </p:txBody>
        </p:sp>
      </p:grpSp>
      <p:pic>
        <p:nvPicPr>
          <p:cNvPr id="20491" name="Picture 136" descr="Weather%20cloud"/>
          <p:cNvPicPr>
            <a:picLocks noChangeAspect="1" noChangeArrowheads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165"/>
          <a:stretch>
            <a:fillRect/>
          </a:stretch>
        </p:blipFill>
        <p:spPr bwMode="auto">
          <a:xfrm>
            <a:off x="6269038" y="3879850"/>
            <a:ext cx="3578225" cy="196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2" name="그림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1975" y="3441700"/>
            <a:ext cx="752475" cy="105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493" name="구부러진 연결선 4"/>
          <p:cNvCxnSpPr>
            <a:cxnSpLocks noChangeShapeType="1"/>
          </p:cNvCxnSpPr>
          <p:nvPr/>
        </p:nvCxnSpPr>
        <p:spPr bwMode="auto">
          <a:xfrm>
            <a:off x="1720850" y="3668713"/>
            <a:ext cx="2974975" cy="1192212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4" name="Oval 20"/>
          <p:cNvSpPr>
            <a:spLocks noChangeAspect="1" noChangeArrowheads="1"/>
          </p:cNvSpPr>
          <p:nvPr/>
        </p:nvSpPr>
        <p:spPr bwMode="auto">
          <a:xfrm rot="5400000">
            <a:off x="1987550" y="2733676"/>
            <a:ext cx="750887" cy="1452562"/>
          </a:xfrm>
          <a:prstGeom prst="ellipse">
            <a:avLst/>
          </a:prstGeom>
          <a:solidFill>
            <a:schemeClr val="folHlink">
              <a:alpha val="30196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rot="10800000" vert="eaVert" wrap="none" anchor="ctr"/>
          <a:lstStyle>
            <a:lvl1pPr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endParaRPr kumimoji="1" lang="ko-KR" altLang="en-US" sz="1400">
              <a:solidFill>
                <a:schemeClr val="tx1"/>
              </a:solidFill>
              <a:latin typeface="맑은 고딕" charset="-127"/>
              <a:ea typeface="맑은 고딕" charset="-127"/>
              <a:cs typeface="가는둥근제목체" charset="0"/>
            </a:endParaRPr>
          </a:p>
        </p:txBody>
      </p:sp>
      <p:cxnSp>
        <p:nvCxnSpPr>
          <p:cNvPr id="20495" name="구부러진 연결선 580"/>
          <p:cNvCxnSpPr>
            <a:cxnSpLocks noChangeShapeType="1"/>
          </p:cNvCxnSpPr>
          <p:nvPr/>
        </p:nvCxnSpPr>
        <p:spPr bwMode="auto">
          <a:xfrm flipV="1">
            <a:off x="5083175" y="3987800"/>
            <a:ext cx="3098800" cy="939800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6" name="구부러진 연결선 581"/>
          <p:cNvCxnSpPr>
            <a:cxnSpLocks noChangeShapeType="1"/>
          </p:cNvCxnSpPr>
          <p:nvPr/>
        </p:nvCxnSpPr>
        <p:spPr bwMode="auto">
          <a:xfrm rot="16200000" flipH="1">
            <a:off x="3425825" y="3138488"/>
            <a:ext cx="1754188" cy="1262062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20497" name="그림 58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8188" y="2447925"/>
            <a:ext cx="48895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498" name="구부러진 연결선 584"/>
          <p:cNvCxnSpPr>
            <a:cxnSpLocks noChangeShapeType="1"/>
          </p:cNvCxnSpPr>
          <p:nvPr/>
        </p:nvCxnSpPr>
        <p:spPr bwMode="auto">
          <a:xfrm rot="5400000">
            <a:off x="4523581" y="3405982"/>
            <a:ext cx="1971675" cy="938212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9" name="Content Placeholder 1"/>
          <p:cNvSpPr>
            <a:spLocks noGrp="1"/>
          </p:cNvSpPr>
          <p:nvPr>
            <p:ph idx="4294967295"/>
          </p:nvPr>
        </p:nvSpPr>
        <p:spPr>
          <a:xfrm>
            <a:off x="7753350" y="2114550"/>
            <a:ext cx="3943350" cy="1533525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Image processing to calculate position, to identify object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Coordination of future trajectories of vehicles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Planning of future route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300"/>
              <a:t>Remote driving control of vehicle</a:t>
            </a:r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300"/>
          </a:p>
        </p:txBody>
      </p:sp>
      <p:sp>
        <p:nvSpPr>
          <p:cNvPr id="20500" name="Content Placeholder 1"/>
          <p:cNvSpPr>
            <a:spLocks noGrp="1"/>
          </p:cNvSpPr>
          <p:nvPr>
            <p:ph idx="4294967295"/>
          </p:nvPr>
        </p:nvSpPr>
        <p:spPr>
          <a:xfrm>
            <a:off x="623888" y="1320800"/>
            <a:ext cx="9718675" cy="2070100"/>
          </a:xfrm>
        </p:spPr>
        <p:txBody>
          <a:bodyPr/>
          <a:lstStyle/>
          <a:p>
            <a:pPr marL="92075" indent="-92075"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500"/>
              <a:t> While hardware installed in a vehicle may not </a:t>
            </a:r>
            <a:r>
              <a:rPr lang="en-US" altLang="ko-KR" sz="1500">
                <a:ea typeface="굴림" charset="-127"/>
              </a:rPr>
              <a:t>be </a:t>
            </a:r>
            <a:r>
              <a:rPr lang="en-US" altLang="en-US" sz="1500"/>
              <a:t>upgraded, artificial intelligence in the cloud will continuously evolve. As long as communication path is available between vehicle and A.I. in the cloud, new and advanced service can be provided to a old vehicle. </a:t>
            </a:r>
          </a:p>
        </p:txBody>
      </p:sp>
      <p:sp>
        <p:nvSpPr>
          <p:cNvPr id="20501" name="직사각형 36"/>
          <p:cNvSpPr>
            <a:spLocks noChangeArrowheads="1"/>
          </p:cNvSpPr>
          <p:nvPr/>
        </p:nvSpPr>
        <p:spPr bwMode="auto">
          <a:xfrm>
            <a:off x="7424738" y="4338638"/>
            <a:ext cx="23241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buNone/>
            </a:pPr>
            <a:r>
              <a:rPr lang="en-US" altLang="ko-KR" b="1">
                <a:solidFill>
                  <a:schemeClr val="tx1"/>
                </a:solidFill>
              </a:rPr>
              <a:t>A.I. in the cloud</a:t>
            </a:r>
            <a:endParaRPr lang="ko-KR" altLang="en-US" b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Content Placeholder 1"/>
          <p:cNvSpPr>
            <a:spLocks noGrp="1"/>
          </p:cNvSpPr>
          <p:nvPr>
            <p:ph idx="1"/>
          </p:nvPr>
        </p:nvSpPr>
        <p:spPr>
          <a:xfrm>
            <a:off x="549275" y="1417638"/>
            <a:ext cx="11026775" cy="4522787"/>
          </a:xfrm>
        </p:spPr>
        <p:txBody>
          <a:bodyPr/>
          <a:lstStyle/>
          <a:p>
            <a:pPr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3GPP finished the first phase of C-V2X and has moved into next phases</a:t>
            </a:r>
          </a:p>
        </p:txBody>
      </p:sp>
      <p:sp>
        <p:nvSpPr>
          <p:cNvPr id="10243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1476029B-0E77-DD44-A2E1-7D9FB197E690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8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2532" name="Content Placeholder 3"/>
          <p:cNvSpPr>
            <a:spLocks noGrp="1"/>
          </p:cNvSpPr>
          <p:nvPr>
            <p:ph idx="11"/>
          </p:nvPr>
        </p:nvSpPr>
        <p:spPr>
          <a:xfrm>
            <a:off x="549275" y="620713"/>
            <a:ext cx="11026775" cy="647700"/>
          </a:xfrm>
        </p:spPr>
        <p:txBody>
          <a:bodyPr/>
          <a:lstStyle/>
          <a:p>
            <a:r>
              <a:rPr lang="en-US" altLang="en-US"/>
              <a:t>Roadmap of Cellular V2X</a:t>
            </a:r>
          </a:p>
        </p:txBody>
      </p:sp>
      <p:sp>
        <p:nvSpPr>
          <p:cNvPr id="6" name="아래쪽 화살표 5"/>
          <p:cNvSpPr/>
          <p:nvPr/>
        </p:nvSpPr>
        <p:spPr bwMode="auto">
          <a:xfrm>
            <a:off x="975917" y="1964136"/>
            <a:ext cx="1032265" cy="698400"/>
          </a:xfrm>
          <a:prstGeom prst="downArrow">
            <a:avLst>
              <a:gd name="adj1" fmla="val 100000"/>
              <a:gd name="adj2" fmla="val 18720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36000" rIns="36000" anchor="ctr"/>
          <a:lstStyle/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age-1</a:t>
            </a:r>
          </a:p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Use case,</a:t>
            </a:r>
            <a:b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</a:b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Requirements</a:t>
            </a:r>
            <a:endParaRPr kumimoji="1" lang="ko-KR" altLang="en-US" sz="13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7" name="아래쪽 화살표 6"/>
          <p:cNvSpPr/>
          <p:nvPr/>
        </p:nvSpPr>
        <p:spPr bwMode="auto">
          <a:xfrm>
            <a:off x="975917" y="2586584"/>
            <a:ext cx="1032265" cy="698400"/>
          </a:xfrm>
          <a:prstGeom prst="downArrow">
            <a:avLst>
              <a:gd name="adj1" fmla="val 100000"/>
              <a:gd name="adj2" fmla="val 20294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36000" rIns="36000" anchor="ctr"/>
          <a:lstStyle/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age-2</a:t>
            </a:r>
          </a:p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Architecture</a:t>
            </a:r>
            <a:endParaRPr kumimoji="1" lang="ko-KR" altLang="en-US" sz="13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cxnSp>
        <p:nvCxnSpPr>
          <p:cNvPr id="22539" name="직선 연결선 5"/>
          <p:cNvCxnSpPr>
            <a:cxnSpLocks noChangeShapeType="1"/>
          </p:cNvCxnSpPr>
          <p:nvPr/>
        </p:nvCxnSpPr>
        <p:spPr bwMode="auto">
          <a:xfrm>
            <a:off x="1936750" y="2573338"/>
            <a:ext cx="5216525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540" name="직사각형 63"/>
          <p:cNvSpPr>
            <a:spLocks noChangeArrowheads="1"/>
          </p:cNvSpPr>
          <p:nvPr/>
        </p:nvSpPr>
        <p:spPr bwMode="auto">
          <a:xfrm>
            <a:off x="2427288" y="1898650"/>
            <a:ext cx="1074737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SA1) LTE 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5.02~ `16.03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41" name="직사각형 63"/>
          <p:cNvSpPr>
            <a:spLocks noChangeArrowheads="1"/>
          </p:cNvSpPr>
          <p:nvPr/>
        </p:nvSpPr>
        <p:spPr bwMode="auto">
          <a:xfrm>
            <a:off x="3556000" y="3230563"/>
            <a:ext cx="890588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RAN) LTE 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5.06~ `17.03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42" name="Line 21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892425" y="3417888"/>
            <a:ext cx="22066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43" name="직사각형 63"/>
          <p:cNvSpPr>
            <a:spLocks noChangeArrowheads="1"/>
          </p:cNvSpPr>
          <p:nvPr/>
        </p:nvSpPr>
        <p:spPr bwMode="auto">
          <a:xfrm>
            <a:off x="4149725" y="2166938"/>
            <a:ext cx="984250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SA1) eV2X 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6.05~ `17.03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44" name="Line 21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340100" y="2751138"/>
            <a:ext cx="1114425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45" name="직사각형 63"/>
          <p:cNvSpPr>
            <a:spLocks noChangeArrowheads="1"/>
          </p:cNvSpPr>
          <p:nvPr/>
        </p:nvSpPr>
        <p:spPr bwMode="auto">
          <a:xfrm>
            <a:off x="3411538" y="2565400"/>
            <a:ext cx="954087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SA2) LTE 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5.10~ `16.09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42" name="아래쪽 화살표 41"/>
          <p:cNvSpPr/>
          <p:nvPr/>
        </p:nvSpPr>
        <p:spPr bwMode="auto">
          <a:xfrm>
            <a:off x="975917" y="3212976"/>
            <a:ext cx="1032265" cy="698400"/>
          </a:xfrm>
          <a:prstGeom prst="downArrow">
            <a:avLst>
              <a:gd name="adj1" fmla="val 100000"/>
              <a:gd name="adj2" fmla="val 20294"/>
            </a:avLst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 lIns="36000" rIns="36000" anchor="ctr"/>
          <a:lstStyle/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Stage-3</a:t>
            </a:r>
          </a:p>
          <a:p>
            <a:pPr algn="ctr" defTabSz="914400" eaLnBrk="1" latinLnBrk="1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defRPr/>
            </a:pPr>
            <a:r>
              <a:rPr kumimoji="1" lang="en-US" altLang="ko-KR" sz="1300" dirty="0">
                <a:solidFill>
                  <a:schemeClr val="tx1"/>
                </a:solidFill>
                <a:latin typeface="Arial Narrow" panose="020B0606020202030204" pitchFamily="34" charset="0"/>
                <a:ea typeface="LG스마트체 Regular" panose="020B0600000101010101" pitchFamily="50" charset="-127"/>
              </a:rPr>
              <a:t>Protocols</a:t>
            </a:r>
          </a:p>
        </p:txBody>
      </p:sp>
      <p:cxnSp>
        <p:nvCxnSpPr>
          <p:cNvPr id="22549" name="직선 연결선 5"/>
          <p:cNvCxnSpPr>
            <a:cxnSpLocks noChangeShapeType="1"/>
          </p:cNvCxnSpPr>
          <p:nvPr/>
        </p:nvCxnSpPr>
        <p:spPr bwMode="auto">
          <a:xfrm>
            <a:off x="1958975" y="3213100"/>
            <a:ext cx="5214938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550" name="직사각형 63"/>
          <p:cNvSpPr>
            <a:spLocks noChangeArrowheads="1"/>
          </p:cNvSpPr>
          <p:nvPr/>
        </p:nvSpPr>
        <p:spPr bwMode="auto">
          <a:xfrm>
            <a:off x="5419725" y="2860675"/>
            <a:ext cx="984250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SA2) e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7.04~ `18.09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51" name="Line 21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3971925" y="2352675"/>
            <a:ext cx="1162050" cy="0"/>
          </a:xfrm>
          <a:prstGeom prst="line">
            <a:avLst/>
          </a:prstGeom>
          <a:noFill/>
          <a:ln w="19050">
            <a:solidFill>
              <a:srgbClr val="00B0F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52" name="Line 21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216525" y="3036888"/>
            <a:ext cx="1670050" cy="0"/>
          </a:xfrm>
          <a:prstGeom prst="line">
            <a:avLst/>
          </a:prstGeom>
          <a:noFill/>
          <a:ln w="19050">
            <a:solidFill>
              <a:srgbClr val="00B0F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53" name="Line 21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2314575" y="2085975"/>
            <a:ext cx="1500188" cy="0"/>
          </a:xfrm>
          <a:prstGeom prst="line">
            <a:avLst/>
          </a:prstGeom>
          <a:noFill/>
          <a:ln w="19050">
            <a:solidFill>
              <a:srgbClr val="FF000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54" name="직사각형 63"/>
          <p:cNvSpPr>
            <a:spLocks noChangeArrowheads="1"/>
          </p:cNvSpPr>
          <p:nvPr/>
        </p:nvSpPr>
        <p:spPr bwMode="auto">
          <a:xfrm>
            <a:off x="5216525" y="3343275"/>
            <a:ext cx="1273175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RAN) LTE e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7.04~ `18.06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22555" name="Line 21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5216525" y="3530600"/>
            <a:ext cx="1273175" cy="0"/>
          </a:xfrm>
          <a:prstGeom prst="line">
            <a:avLst/>
          </a:prstGeom>
          <a:noFill/>
          <a:ln w="19050">
            <a:solidFill>
              <a:srgbClr val="00B0F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56" name="직사각형 63"/>
          <p:cNvSpPr>
            <a:spLocks noChangeArrowheads="1"/>
          </p:cNvSpPr>
          <p:nvPr/>
        </p:nvSpPr>
        <p:spPr bwMode="auto">
          <a:xfrm>
            <a:off x="6454775" y="3540125"/>
            <a:ext cx="1273175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>
              <a:lnSpc>
                <a:spcPct val="135000"/>
              </a:lnSpc>
            </a:pP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RAN) NR eV2X</a:t>
            </a:r>
            <a:b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</a:br>
            <a:r>
              <a:rPr lang="en-US" altLang="ko-KR" sz="900">
                <a:solidFill>
                  <a:schemeClr val="tx1"/>
                </a:solidFill>
                <a:latin typeface="Arial Narrow" charset="0"/>
                <a:ea typeface="LG스마트체 Regular" charset="0"/>
                <a:cs typeface="Arial" charset="0"/>
              </a:rPr>
              <a:t>(`17.3Q~ `19.4Q)</a:t>
            </a:r>
            <a:endParaRPr lang="ko-KR" altLang="en-US" sz="900">
              <a:solidFill>
                <a:schemeClr val="tx1"/>
              </a:solidFill>
              <a:latin typeface="Arial Narrow" charset="0"/>
              <a:ea typeface="LG스마트체 Regular" charset="0"/>
              <a:cs typeface="Arial" charset="0"/>
            </a:endParaRPr>
          </a:p>
        </p:txBody>
      </p:sp>
      <p:sp>
        <p:nvSpPr>
          <p:cNvPr id="54" name="Line 21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6022975" y="3727450"/>
            <a:ext cx="1655763" cy="0"/>
          </a:xfrm>
          <a:prstGeom prst="line">
            <a:avLst/>
          </a:prstGeom>
          <a:noFill/>
          <a:ln w="19050">
            <a:solidFill>
              <a:schemeClr val="accent3">
                <a:lumMod val="65000"/>
              </a:schemeClr>
            </a:solidFill>
            <a:prstDash val="dash"/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ko-KR" altLang="en-US" sz="900" dirty="0">
              <a:solidFill>
                <a:schemeClr val="tx1"/>
              </a:solidFill>
              <a:latin typeface="Arial Narrow" panose="020B0606020202030204" pitchFamily="34" charset="0"/>
              <a:ea typeface="LG스마트체 Regular" panose="020B0600000101010101" pitchFamily="50" charset="-127"/>
            </a:endParaRPr>
          </a:p>
        </p:txBody>
      </p:sp>
      <p:sp>
        <p:nvSpPr>
          <p:cNvPr id="22558" name="오각형 54"/>
          <p:cNvSpPr>
            <a:spLocks noChangeArrowheads="1"/>
          </p:cNvSpPr>
          <p:nvPr/>
        </p:nvSpPr>
        <p:spPr bwMode="auto">
          <a:xfrm>
            <a:off x="2422525" y="4191000"/>
            <a:ext cx="3517900" cy="242888"/>
          </a:xfrm>
          <a:prstGeom prst="homePlate">
            <a:avLst>
              <a:gd name="adj" fmla="val 21524"/>
            </a:avLst>
          </a:prstGeom>
          <a:noFill/>
          <a:ln w="19050">
            <a:solidFill>
              <a:srgbClr val="FF000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r>
              <a:rPr lang="en-US" altLang="ko-KR" sz="1400" b="1">
                <a:solidFill>
                  <a:schemeClr val="tx1"/>
                </a:solidFill>
                <a:latin typeface="Arial Narrow" charset="0"/>
                <a:ea typeface="LG스마트체 Regular" charset="0"/>
              </a:rPr>
              <a:t>Basic V2X services</a:t>
            </a:r>
            <a:endParaRPr lang="ko-KR" altLang="en-US" sz="1400" b="1">
              <a:solidFill>
                <a:schemeClr val="tx1"/>
              </a:solidFill>
              <a:latin typeface="Arial Narrow" charset="0"/>
              <a:ea typeface="LG스마트체 Regular" charset="0"/>
            </a:endParaRPr>
          </a:p>
        </p:txBody>
      </p:sp>
      <p:sp>
        <p:nvSpPr>
          <p:cNvPr id="22559" name="오각형 55"/>
          <p:cNvSpPr>
            <a:spLocks noChangeArrowheads="1"/>
          </p:cNvSpPr>
          <p:nvPr/>
        </p:nvSpPr>
        <p:spPr bwMode="auto">
          <a:xfrm>
            <a:off x="5949950" y="4191000"/>
            <a:ext cx="4752975" cy="242888"/>
          </a:xfrm>
          <a:prstGeom prst="homePlate">
            <a:avLst>
              <a:gd name="adj" fmla="val 21562"/>
            </a:avLst>
          </a:prstGeom>
          <a:noFill/>
          <a:ln w="19050">
            <a:solidFill>
              <a:srgbClr val="00B0F0"/>
            </a:solidFill>
            <a:round/>
            <a:headEnd type="oval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r>
              <a:rPr lang="en-US" altLang="ko-KR" sz="1400" b="1">
                <a:solidFill>
                  <a:schemeClr val="tx1"/>
                </a:solidFill>
                <a:latin typeface="Arial Narrow" charset="0"/>
                <a:ea typeface="LG스마트체 Regular" charset="0"/>
              </a:rPr>
              <a:t>Advanced V2X services</a:t>
            </a:r>
            <a:endParaRPr lang="ko-KR" altLang="en-US" sz="1400" b="1">
              <a:solidFill>
                <a:schemeClr val="tx1"/>
              </a:solidFill>
              <a:latin typeface="Arial Narrow" charset="0"/>
              <a:ea typeface="LG스마트체 Regular" charset="0"/>
            </a:endParaRPr>
          </a:p>
        </p:txBody>
      </p:sp>
      <p:sp>
        <p:nvSpPr>
          <p:cNvPr id="22560" name="Content Placeholder 1"/>
          <p:cNvSpPr txBox="1">
            <a:spLocks/>
          </p:cNvSpPr>
          <p:nvPr/>
        </p:nvSpPr>
        <p:spPr bwMode="auto">
          <a:xfrm>
            <a:off x="2422525" y="4567238"/>
            <a:ext cx="3452813" cy="1227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21240" rIns="0" bIns="0"/>
          <a:lstStyle>
            <a:lvl1pPr marL="92075" indent="-92075"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Road hazard warn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Intersection movement assistance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Forward collision warn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200"/>
          </a:p>
        </p:txBody>
      </p:sp>
      <p:sp>
        <p:nvSpPr>
          <p:cNvPr id="22561" name="Content Placeholder 1"/>
          <p:cNvSpPr txBox="1">
            <a:spLocks/>
          </p:cNvSpPr>
          <p:nvPr/>
        </p:nvSpPr>
        <p:spPr bwMode="auto">
          <a:xfrm>
            <a:off x="5949950" y="4567238"/>
            <a:ext cx="4968875" cy="1227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21240" rIns="0" bIns="0"/>
          <a:lstStyle>
            <a:lvl1pPr marL="92075" indent="-92075">
              <a:lnSpc>
                <a:spcPct val="94000"/>
              </a:lnSpc>
              <a:spcAft>
                <a:spcPts val="1425"/>
              </a:spcAft>
              <a:buClr>
                <a:srgbClr val="000000"/>
              </a:buClr>
              <a:buSzPct val="100000"/>
              <a:buFont typeface="Times New Roman" charset="0"/>
              <a:defRPr sz="28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lnSpc>
                <a:spcPct val="94000"/>
              </a:lnSpc>
              <a:spcAft>
                <a:spcPts val="1138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lnSpc>
                <a:spcPct val="94000"/>
              </a:lnSpc>
              <a:spcAft>
                <a:spcPts val="850"/>
              </a:spcAft>
              <a:buClr>
                <a:srgbClr val="000000"/>
              </a:buClr>
              <a:buSzPct val="100000"/>
              <a:buFont typeface="Times New Roman" charset="0"/>
              <a:defRPr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lnSpc>
                <a:spcPct val="94000"/>
              </a:lnSpc>
              <a:spcAft>
                <a:spcPts val="575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lnSpc>
                <a:spcPct val="94000"/>
              </a:lnSpc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5pPr>
            <a:lvl6pPr marL="25146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6pPr>
            <a:lvl7pPr marL="29718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7pPr>
            <a:lvl8pPr marL="34290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8pPr>
            <a:lvl9pPr marL="3886200" indent="-228600" defTabSz="457200" eaLnBrk="0" fontAlgn="base" hangingPunct="0">
              <a:lnSpc>
                <a:spcPct val="94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100000"/>
              <a:buFont typeface="Times New Roman" charset="0"/>
              <a:defRPr sz="2000">
                <a:solidFill>
                  <a:srgbClr val="000000"/>
                </a:solidFill>
                <a:latin typeface="Verdana" charset="0"/>
                <a:ea typeface="Verdana" charset="0"/>
                <a:cs typeface="Verdana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Autonomous driv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CACC, Platoon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Tele-operated driv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Sensor data sharing</a:t>
            </a:r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  <a:buFont typeface="Arial" charset="0"/>
              <a:buChar char="•"/>
            </a:pPr>
            <a:endParaRPr lang="en-US" altLang="en-US" sz="1200"/>
          </a:p>
          <a:p>
            <a:pPr eaLnBrk="1" hangingPunct="1">
              <a:lnSpc>
                <a:spcPct val="100000"/>
              </a:lnSpc>
              <a:spcAft>
                <a:spcPts val="600"/>
              </a:spcAft>
              <a:buClr>
                <a:srgbClr val="0070C0"/>
              </a:buClr>
              <a:buSzPct val="110000"/>
            </a:pPr>
            <a:r>
              <a:rPr lang="en-US" altLang="en-US" sz="1200" b="1"/>
              <a:t>-&gt; Higher reliability, Higher throughput, Lower latency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1pPr>
            <a:lvl2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2pPr>
            <a:lvl3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3pPr>
            <a:lvl4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4pPr>
            <a:lvl5pPr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>
                <a:solidFill>
                  <a:schemeClr val="bg1"/>
                </a:solidFill>
                <a:latin typeface="Calibri" charset="0"/>
                <a:ea typeface="Microsoft YaHei" charset="-122"/>
              </a:defRPr>
            </a:lvl9pPr>
          </a:lstStyle>
          <a:p>
            <a:pPr>
              <a:buFont typeface="Times New Roman" charset="0"/>
              <a:buNone/>
              <a:defRPr/>
            </a:pPr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Pg  </a:t>
            </a:r>
            <a:fld id="{6194C41C-3BF6-7641-A6B9-FC688D715026}" type="slidenum">
              <a:rPr lang="en-US" altLang="en-US">
                <a:solidFill>
                  <a:srgbClr val="000000"/>
                </a:solidFill>
                <a:latin typeface="Verdana" charset="0"/>
              </a:rPr>
              <a:pPr>
                <a:buFont typeface="Times New Roman" charset="0"/>
                <a:buNone/>
                <a:defRPr/>
              </a:pPr>
              <a:t>9</a:t>
            </a:fld>
            <a:r>
              <a:rPr lang="en-US" altLang="en-US" dirty="0">
                <a:solidFill>
                  <a:srgbClr val="000000"/>
                </a:solidFill>
                <a:latin typeface="Verdana" charset="0"/>
              </a:rPr>
              <a:t> | </a:t>
            </a:r>
          </a:p>
        </p:txBody>
      </p:sp>
      <p:sp>
        <p:nvSpPr>
          <p:cNvPr id="24579" name="Content Placeholder 3"/>
          <p:cNvSpPr>
            <a:spLocks noGrp="1"/>
          </p:cNvSpPr>
          <p:nvPr>
            <p:ph idx="11"/>
          </p:nvPr>
        </p:nvSpPr>
        <p:spPr>
          <a:xfrm>
            <a:off x="622300" y="620713"/>
            <a:ext cx="10953750" cy="647700"/>
          </a:xfrm>
        </p:spPr>
        <p:txBody>
          <a:bodyPr/>
          <a:lstStyle/>
          <a:p>
            <a:r>
              <a:rPr lang="en-US" altLang="en-US"/>
              <a:t>Topics for discussion</a:t>
            </a:r>
          </a:p>
        </p:txBody>
      </p:sp>
      <p:sp>
        <p:nvSpPr>
          <p:cNvPr id="24580" name="Content Placeholder 1"/>
          <p:cNvSpPr>
            <a:spLocks noGrp="1"/>
          </p:cNvSpPr>
          <p:nvPr>
            <p:ph idx="1"/>
          </p:nvPr>
        </p:nvSpPr>
        <p:spPr>
          <a:xfrm>
            <a:off x="549275" y="1417638"/>
            <a:ext cx="11026775" cy="4522787"/>
          </a:xfrm>
        </p:spPr>
        <p:txBody>
          <a:bodyPr/>
          <a:lstStyle/>
          <a:p>
            <a:pPr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Standardization of V2X Applications for beyond Day 2: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For some advanced V2X applications, progress of standardization is slow. For other advanced V2X applications, there is no plan at all. (e.g. video sharing, remote driving, etc.)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Cloud-to-cloud connectivity between stake-holders also needs to be considered. (e.g. how one OEM cloud connects to other OEMs cloud? how operators’ cloud connects to other OEMs’ cloud or operators’ cloud?) </a:t>
            </a:r>
          </a:p>
          <a:p>
            <a:pPr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Coexistence and evolution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ITS band (e.g. 5.9 Ghz) is technology neutral, allowing access of both C-V2X and DSRC/ITS-G5. 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How to ensure coexistence of both technologies within same band?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How to ensure the evolution of access technologies?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What and to which extent interoperability should be supported?</a:t>
            </a:r>
          </a:p>
          <a:p>
            <a:pPr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2200"/>
              <a:t>Competition and collaboration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Which part of V2X service is up for competition/implementation and which part of V2X service is up for collaboration/standardization?</a:t>
            </a:r>
          </a:p>
          <a:p>
            <a:pPr lvl="1" eaLnBrk="1" hangingPunct="1">
              <a:lnSpc>
                <a:spcPct val="104000"/>
              </a:lnSpc>
              <a:buClr>
                <a:srgbClr val="0070C0"/>
              </a:buClr>
              <a:buSzPct val="110000"/>
              <a:buFont typeface="Arial" charset="0"/>
              <a:buChar char="•"/>
            </a:pPr>
            <a:r>
              <a:rPr lang="en-US" altLang="en-US" sz="1200"/>
              <a:t>Which part of V2X specification is up for competition or collaboration among SDOs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.reQN9NESWR2SfsM_OzA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2B5DCE"/>
      </a:hlink>
      <a:folHlink>
        <a:srgbClr val="B2B2B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anose="020F0502020204030204" pitchFamily="34" charset="0"/>
            <a:ea typeface="Microsoft YaHei" panose="020B0503020204020204" pitchFamily="34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anose="020F0502020204030204" pitchFamily="34" charset="0"/>
            <a:ea typeface="Microsoft YaHei" panose="020B0503020204020204" pitchFamily="34" charset="-122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anose="020F0502020204030204" pitchFamily="34" charset="0"/>
            <a:ea typeface="Microsoft YaHei" panose="020B0503020204020204" pitchFamily="34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altLang="en-US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Calibri" panose="020F0502020204030204" pitchFamily="34" charset="0"/>
            <a:ea typeface="Microsoft YaHei" panose="020B0503020204020204" pitchFamily="34" charset="-122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CC221E8A5C574B889E2CBB12A471FC" ma:contentTypeVersion="1" ma:contentTypeDescription="Create a new document." ma:contentTypeScope="" ma:versionID="38d5c50bee8d74d353989a0efe0fe07c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ef2aa9ed40e72a78c3822fc753b43e8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1594B0-DA08-470C-9E43-961CF312FC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234</TotalTime>
  <Words>1047</Words>
  <Application>Microsoft Macintosh PowerPoint</Application>
  <PresentationFormat>Custom</PresentationFormat>
  <Paragraphs>218</Paragraphs>
  <Slides>13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1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31" baseType="lpstr">
      <vt:lpstr>Arial Narrow</vt:lpstr>
      <vt:lpstr>Calibri</vt:lpstr>
      <vt:lpstr>Consolas</vt:lpstr>
      <vt:lpstr>LG스마트체 Regular</vt:lpstr>
      <vt:lpstr>Lucida Sans Unicode</vt:lpstr>
      <vt:lpstr>Microsoft YaHei</vt:lpstr>
      <vt:lpstr>MS PGothic</vt:lpstr>
      <vt:lpstr>Times New Roman</vt:lpstr>
      <vt:lpstr>Trebuchet MS</vt:lpstr>
      <vt:lpstr>Verdana</vt:lpstr>
      <vt:lpstr>Wingdings</vt:lpstr>
      <vt:lpstr>가는둥근제목체</vt:lpstr>
      <vt:lpstr>굴림</vt:lpstr>
      <vt:lpstr>돋움</vt:lpstr>
      <vt:lpstr>맑은 고딕</vt:lpstr>
      <vt:lpstr>Arial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34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.sriv</dc:creator>
  <cp:lastModifiedBy>Microsoft Office User</cp:lastModifiedBy>
  <cp:revision>251</cp:revision>
  <cp:lastPrinted>1601-01-01T00:00:00Z</cp:lastPrinted>
  <dcterms:created xsi:type="dcterms:W3CDTF">2016-04-13T17:12:01Z</dcterms:created>
  <dcterms:modified xsi:type="dcterms:W3CDTF">2017-09-21T18:1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ublishingExpirationDate">
    <vt:lpwstr/>
  </property>
  <property fmtid="{D5CDD505-2E9C-101B-9397-08002B2CF9AE}" pid="3" name="PublishingStartDate">
    <vt:lpwstr/>
  </property>
</Properties>
</file>